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5" r:id="rId5"/>
    <p:sldMasterId id="2147483694" r:id="rId6"/>
    <p:sldMasterId id="2147483713" r:id="rId7"/>
  </p:sldMasterIdLst>
  <p:notesMasterIdLst>
    <p:notesMasterId r:id="rId19"/>
  </p:notesMasterIdLst>
  <p:sldIdLst>
    <p:sldId id="257" r:id="rId8"/>
    <p:sldId id="4626" r:id="rId9"/>
    <p:sldId id="4354" r:id="rId10"/>
    <p:sldId id="4400" r:id="rId11"/>
    <p:sldId id="4631" r:id="rId12"/>
    <p:sldId id="4632" r:id="rId13"/>
    <p:sldId id="4633" r:id="rId14"/>
    <p:sldId id="4634" r:id="rId15"/>
    <p:sldId id="4635" r:id="rId16"/>
    <p:sldId id="4636" r:id="rId17"/>
    <p:sldId id="4630" r:id="rId18"/>
  </p:sldIdLst>
  <p:sldSz cx="12192000" cy="6858000"/>
  <p:notesSz cx="6858000" cy="9144000"/>
  <p:custDataLst>
    <p:tags r:id="rId20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5B7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FC1DF0B-40F3-40F5-8821-0201EF0D289D}" v="357" dt="2021-01-26T09:30:47.17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105" d="100"/>
          <a:sy n="105" d="100"/>
        </p:scale>
        <p:origin x="120" y="30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unnar Harris-Christensen" userId="beab53f1-4426-45a5-bbc5-8ac76c0da1b9" providerId="ADAL" clId="{2FC1DF0B-40F3-40F5-8821-0201EF0D289D}"/>
    <pc:docChg chg="undo custSel addSld modSld">
      <pc:chgData name="Gunnar Harris-Christensen" userId="beab53f1-4426-45a5-bbc5-8ac76c0da1b9" providerId="ADAL" clId="{2FC1DF0B-40F3-40F5-8821-0201EF0D289D}" dt="2021-01-26T09:30:35.115" v="2200" actId="1076"/>
      <pc:docMkLst>
        <pc:docMk/>
      </pc:docMkLst>
      <pc:sldChg chg="modSp mod">
        <pc:chgData name="Gunnar Harris-Christensen" userId="beab53f1-4426-45a5-bbc5-8ac76c0da1b9" providerId="ADAL" clId="{2FC1DF0B-40F3-40F5-8821-0201EF0D289D}" dt="2021-01-25T13:06:49.284" v="2015" actId="255"/>
        <pc:sldMkLst>
          <pc:docMk/>
          <pc:sldMk cId="2028866981" sldId="257"/>
        </pc:sldMkLst>
        <pc:spChg chg="mod">
          <ac:chgData name="Gunnar Harris-Christensen" userId="beab53f1-4426-45a5-bbc5-8ac76c0da1b9" providerId="ADAL" clId="{2FC1DF0B-40F3-40F5-8821-0201EF0D289D}" dt="2021-01-25T13:06:49.284" v="2015" actId="255"/>
          <ac:spMkLst>
            <pc:docMk/>
            <pc:sldMk cId="2028866981" sldId="257"/>
            <ac:spMk id="4" creationId="{00000000-0000-0000-0000-000000000000}"/>
          </ac:spMkLst>
        </pc:spChg>
      </pc:sldChg>
      <pc:sldChg chg="addSp delSp modSp mod">
        <pc:chgData name="Gunnar Harris-Christensen" userId="beab53f1-4426-45a5-bbc5-8ac76c0da1b9" providerId="ADAL" clId="{2FC1DF0B-40F3-40F5-8821-0201EF0D289D}" dt="2021-01-26T09:28:03.160" v="2183" actId="21"/>
        <pc:sldMkLst>
          <pc:docMk/>
          <pc:sldMk cId="3293569653" sldId="4400"/>
        </pc:sldMkLst>
        <pc:spChg chg="mod">
          <ac:chgData name="Gunnar Harris-Christensen" userId="beab53f1-4426-45a5-bbc5-8ac76c0da1b9" providerId="ADAL" clId="{2FC1DF0B-40F3-40F5-8821-0201EF0D289D}" dt="2021-01-26T09:22:40.772" v="2168" actId="14100"/>
          <ac:spMkLst>
            <pc:docMk/>
            <pc:sldMk cId="3293569653" sldId="4400"/>
            <ac:spMk id="91" creationId="{74246E2C-7BE1-0149-870E-7C9B5CAD9F10}"/>
          </ac:spMkLst>
        </pc:spChg>
        <pc:picChg chg="add mod">
          <ac:chgData name="Gunnar Harris-Christensen" userId="beab53f1-4426-45a5-bbc5-8ac76c0da1b9" providerId="ADAL" clId="{2FC1DF0B-40F3-40F5-8821-0201EF0D289D}" dt="2021-01-26T09:22:43.166" v="2169" actId="1076"/>
          <ac:picMkLst>
            <pc:docMk/>
            <pc:sldMk cId="3293569653" sldId="4400"/>
            <ac:picMk id="4" creationId="{89D58187-5937-4E1A-A4C5-3E823CF5CF40}"/>
          </ac:picMkLst>
        </pc:picChg>
        <pc:picChg chg="add del mod modCrop">
          <ac:chgData name="Gunnar Harris-Christensen" userId="beab53f1-4426-45a5-bbc5-8ac76c0da1b9" providerId="ADAL" clId="{2FC1DF0B-40F3-40F5-8821-0201EF0D289D}" dt="2021-01-26T09:28:03.160" v="2183" actId="21"/>
          <ac:picMkLst>
            <pc:docMk/>
            <pc:sldMk cId="3293569653" sldId="4400"/>
            <ac:picMk id="6" creationId="{9734B712-49F2-47EE-A7E9-9757CF9FAA5D}"/>
          </ac:picMkLst>
        </pc:picChg>
      </pc:sldChg>
      <pc:sldChg chg="modSp mod">
        <pc:chgData name="Gunnar Harris-Christensen" userId="beab53f1-4426-45a5-bbc5-8ac76c0da1b9" providerId="ADAL" clId="{2FC1DF0B-40F3-40F5-8821-0201EF0D289D}" dt="2021-01-25T13:05:24.471" v="1950" actId="20577"/>
        <pc:sldMkLst>
          <pc:docMk/>
          <pc:sldMk cId="2306204671" sldId="4630"/>
        </pc:sldMkLst>
        <pc:spChg chg="mod">
          <ac:chgData name="Gunnar Harris-Christensen" userId="beab53f1-4426-45a5-bbc5-8ac76c0da1b9" providerId="ADAL" clId="{2FC1DF0B-40F3-40F5-8821-0201EF0D289D}" dt="2021-01-25T13:05:24.471" v="1950" actId="20577"/>
          <ac:spMkLst>
            <pc:docMk/>
            <pc:sldMk cId="2306204671" sldId="4630"/>
            <ac:spMk id="12" creationId="{EF746C62-07A8-41CD-8E79-C0944C7EED55}"/>
          </ac:spMkLst>
        </pc:spChg>
      </pc:sldChg>
      <pc:sldChg chg="addSp modSp mod">
        <pc:chgData name="Gunnar Harris-Christensen" userId="beab53f1-4426-45a5-bbc5-8ac76c0da1b9" providerId="ADAL" clId="{2FC1DF0B-40F3-40F5-8821-0201EF0D289D}" dt="2021-01-26T09:23:48.194" v="2173" actId="1076"/>
        <pc:sldMkLst>
          <pc:docMk/>
          <pc:sldMk cId="3976179272" sldId="4631"/>
        </pc:sldMkLst>
        <pc:spChg chg="mod">
          <ac:chgData name="Gunnar Harris-Christensen" userId="beab53f1-4426-45a5-bbc5-8ac76c0da1b9" providerId="ADAL" clId="{2FC1DF0B-40F3-40F5-8821-0201EF0D289D}" dt="2021-01-26T09:18:07.454" v="2020" actId="14100"/>
          <ac:spMkLst>
            <pc:docMk/>
            <pc:sldMk cId="3976179272" sldId="4631"/>
            <ac:spMk id="91" creationId="{74246E2C-7BE1-0149-870E-7C9B5CAD9F10}"/>
          </ac:spMkLst>
        </pc:spChg>
        <pc:picChg chg="add mod">
          <ac:chgData name="Gunnar Harris-Christensen" userId="beab53f1-4426-45a5-bbc5-8ac76c0da1b9" providerId="ADAL" clId="{2FC1DF0B-40F3-40F5-8821-0201EF0D289D}" dt="2021-01-26T09:23:48.194" v="2173" actId="1076"/>
          <ac:picMkLst>
            <pc:docMk/>
            <pc:sldMk cId="3976179272" sldId="4631"/>
            <ac:picMk id="4" creationId="{D2EE70B0-B9D8-4BD0-B260-402C68B559D9}"/>
          </ac:picMkLst>
        </pc:picChg>
      </pc:sldChg>
      <pc:sldChg chg="modSp mod">
        <pc:chgData name="Gunnar Harris-Christensen" userId="beab53f1-4426-45a5-bbc5-8ac76c0da1b9" providerId="ADAL" clId="{2FC1DF0B-40F3-40F5-8821-0201EF0D289D}" dt="2021-01-26T09:18:02.379" v="2019" actId="14100"/>
        <pc:sldMkLst>
          <pc:docMk/>
          <pc:sldMk cId="2586489719" sldId="4632"/>
        </pc:sldMkLst>
        <pc:spChg chg="mod">
          <ac:chgData name="Gunnar Harris-Christensen" userId="beab53f1-4426-45a5-bbc5-8ac76c0da1b9" providerId="ADAL" clId="{2FC1DF0B-40F3-40F5-8821-0201EF0D289D}" dt="2021-01-26T09:18:02.379" v="2019" actId="14100"/>
          <ac:spMkLst>
            <pc:docMk/>
            <pc:sldMk cId="2586489719" sldId="4632"/>
            <ac:spMk id="91" creationId="{74246E2C-7BE1-0149-870E-7C9B5CAD9F10}"/>
          </ac:spMkLst>
        </pc:spChg>
      </pc:sldChg>
      <pc:sldChg chg="addSp delSp modSp add mod">
        <pc:chgData name="Gunnar Harris-Christensen" userId="beab53f1-4426-45a5-bbc5-8ac76c0da1b9" providerId="ADAL" clId="{2FC1DF0B-40F3-40F5-8821-0201EF0D289D}" dt="2021-01-26T09:30:02.793" v="2197"/>
        <pc:sldMkLst>
          <pc:docMk/>
          <pc:sldMk cId="1739653636" sldId="4633"/>
        </pc:sldMkLst>
        <pc:spChg chg="mod ord">
          <ac:chgData name="Gunnar Harris-Christensen" userId="beab53f1-4426-45a5-bbc5-8ac76c0da1b9" providerId="ADAL" clId="{2FC1DF0B-40F3-40F5-8821-0201EF0D289D}" dt="2021-01-26T09:21:01.067" v="2063"/>
          <ac:spMkLst>
            <pc:docMk/>
            <pc:sldMk cId="1739653636" sldId="4633"/>
            <ac:spMk id="5" creationId="{24666320-25CF-D845-9263-B4DA1B3F79F3}"/>
          </ac:spMkLst>
        </pc:spChg>
        <pc:spChg chg="mod ord">
          <ac:chgData name="Gunnar Harris-Christensen" userId="beab53f1-4426-45a5-bbc5-8ac76c0da1b9" providerId="ADAL" clId="{2FC1DF0B-40F3-40F5-8821-0201EF0D289D}" dt="2021-01-26T09:22:03.729" v="2139" actId="14100"/>
          <ac:spMkLst>
            <pc:docMk/>
            <pc:sldMk cId="1739653636" sldId="4633"/>
            <ac:spMk id="91" creationId="{74246E2C-7BE1-0149-870E-7C9B5CAD9F10}"/>
          </ac:spMkLst>
        </pc:spChg>
        <pc:grpChg chg="add del mod">
          <ac:chgData name="Gunnar Harris-Christensen" userId="beab53f1-4426-45a5-bbc5-8ac76c0da1b9" providerId="ADAL" clId="{2FC1DF0B-40F3-40F5-8821-0201EF0D289D}" dt="2021-01-26T09:20:22.522" v="2025" actId="165"/>
          <ac:grpSpMkLst>
            <pc:docMk/>
            <pc:sldMk cId="1739653636" sldId="4633"/>
            <ac:grpSpMk id="4" creationId="{03E3B8FB-7F67-47F7-9EEF-13241CF47B8B}"/>
          </ac:grpSpMkLst>
        </pc:grpChg>
        <pc:graphicFrameChg chg="add mod ord modVis">
          <ac:chgData name="Gunnar Harris-Christensen" userId="beab53f1-4426-45a5-bbc5-8ac76c0da1b9" providerId="ADAL" clId="{2FC1DF0B-40F3-40F5-8821-0201EF0D289D}" dt="2021-01-26T09:21:01.076" v="2071"/>
          <ac:graphicFrameMkLst>
            <pc:docMk/>
            <pc:sldMk cId="1739653636" sldId="4633"/>
            <ac:graphicFrameMk id="2" creationId="{FC0817F8-CC8D-4E31-B7B7-0E51074AB93A}"/>
          </ac:graphicFrameMkLst>
        </pc:graphicFrameChg>
        <pc:picChg chg="mod ord topLvl modCrop">
          <ac:chgData name="Gunnar Harris-Christensen" userId="beab53f1-4426-45a5-bbc5-8ac76c0da1b9" providerId="ADAL" clId="{2FC1DF0B-40F3-40F5-8821-0201EF0D289D}" dt="2021-01-26T09:21:59.896" v="2138" actId="1076"/>
          <ac:picMkLst>
            <pc:docMk/>
            <pc:sldMk cId="1739653636" sldId="4633"/>
            <ac:picMk id="6" creationId="{B032C966-B587-41E0-B359-8C6636670154}"/>
          </ac:picMkLst>
        </pc:picChg>
        <pc:picChg chg="mod ord topLvl modCrop">
          <ac:chgData name="Gunnar Harris-Christensen" userId="beab53f1-4426-45a5-bbc5-8ac76c0da1b9" providerId="ADAL" clId="{2FC1DF0B-40F3-40F5-8821-0201EF0D289D}" dt="2021-01-26T09:21:54.891" v="2136" actId="1076"/>
          <ac:picMkLst>
            <pc:docMk/>
            <pc:sldMk cId="1739653636" sldId="4633"/>
            <ac:picMk id="7" creationId="{532E3B3E-AA73-4A9C-A025-BFBFA8B81E75}"/>
          </ac:picMkLst>
        </pc:picChg>
        <pc:picChg chg="mod ord topLvl">
          <ac:chgData name="Gunnar Harris-Christensen" userId="beab53f1-4426-45a5-bbc5-8ac76c0da1b9" providerId="ADAL" clId="{2FC1DF0B-40F3-40F5-8821-0201EF0D289D}" dt="2021-01-26T09:21:56.873" v="2137" actId="1076"/>
          <ac:picMkLst>
            <pc:docMk/>
            <pc:sldMk cId="1739653636" sldId="4633"/>
            <ac:picMk id="8" creationId="{E1470BC2-6BB6-4C45-9EFA-FA0BB56178EF}"/>
          </ac:picMkLst>
        </pc:picChg>
        <pc:picChg chg="add del mod">
          <ac:chgData name="Gunnar Harris-Christensen" userId="beab53f1-4426-45a5-bbc5-8ac76c0da1b9" providerId="ADAL" clId="{2FC1DF0B-40F3-40F5-8821-0201EF0D289D}" dt="2021-01-26T09:30:02.793" v="2197"/>
          <ac:picMkLst>
            <pc:docMk/>
            <pc:sldMk cId="1739653636" sldId="4633"/>
            <ac:picMk id="9" creationId="{0AA4A74D-8B89-4561-88DD-9C10FC87DB8E}"/>
          </ac:picMkLst>
        </pc:picChg>
      </pc:sldChg>
      <pc:sldChg chg="addSp delSp modSp add mod">
        <pc:chgData name="Gunnar Harris-Christensen" userId="beab53f1-4426-45a5-bbc5-8ac76c0da1b9" providerId="ADAL" clId="{2FC1DF0B-40F3-40F5-8821-0201EF0D289D}" dt="2021-01-26T09:30:35.115" v="2200" actId="1076"/>
        <pc:sldMkLst>
          <pc:docMk/>
          <pc:sldMk cId="3797276880" sldId="4634"/>
        </pc:sldMkLst>
        <pc:spChg chg="mod">
          <ac:chgData name="Gunnar Harris-Christensen" userId="beab53f1-4426-45a5-bbc5-8ac76c0da1b9" providerId="ADAL" clId="{2FC1DF0B-40F3-40F5-8821-0201EF0D289D}" dt="2021-01-25T12:42:14.333" v="569" actId="20577"/>
          <ac:spMkLst>
            <pc:docMk/>
            <pc:sldMk cId="3797276880" sldId="4634"/>
            <ac:spMk id="5" creationId="{24666320-25CF-D845-9263-B4DA1B3F79F3}"/>
          </ac:spMkLst>
        </pc:spChg>
        <pc:spChg chg="mod">
          <ac:chgData name="Gunnar Harris-Christensen" userId="beab53f1-4426-45a5-bbc5-8ac76c0da1b9" providerId="ADAL" clId="{2FC1DF0B-40F3-40F5-8821-0201EF0D289D}" dt="2021-01-25T12:48:39.926" v="847" actId="20577"/>
          <ac:spMkLst>
            <pc:docMk/>
            <pc:sldMk cId="3797276880" sldId="4634"/>
            <ac:spMk id="91" creationId="{74246E2C-7BE1-0149-870E-7C9B5CAD9F10}"/>
          </ac:spMkLst>
        </pc:spChg>
        <pc:picChg chg="add mod">
          <ac:chgData name="Gunnar Harris-Christensen" userId="beab53f1-4426-45a5-bbc5-8ac76c0da1b9" providerId="ADAL" clId="{2FC1DF0B-40F3-40F5-8821-0201EF0D289D}" dt="2021-01-26T09:30:35.115" v="2200" actId="1076"/>
          <ac:picMkLst>
            <pc:docMk/>
            <pc:sldMk cId="3797276880" sldId="4634"/>
            <ac:picMk id="4" creationId="{3DD7B730-FA4E-41B3-962C-DE8818F33862}"/>
          </ac:picMkLst>
        </pc:picChg>
        <pc:picChg chg="add del mod">
          <ac:chgData name="Gunnar Harris-Christensen" userId="beab53f1-4426-45a5-bbc5-8ac76c0da1b9" providerId="ADAL" clId="{2FC1DF0B-40F3-40F5-8821-0201EF0D289D}" dt="2021-01-26T09:30:35.115" v="2200" actId="1076"/>
          <ac:picMkLst>
            <pc:docMk/>
            <pc:sldMk cId="3797276880" sldId="4634"/>
            <ac:picMk id="6" creationId="{12DB21FE-E746-4B4A-993E-702F876AA1EC}"/>
          </ac:picMkLst>
        </pc:picChg>
        <pc:picChg chg="add mod">
          <ac:chgData name="Gunnar Harris-Christensen" userId="beab53f1-4426-45a5-bbc5-8ac76c0da1b9" providerId="ADAL" clId="{2FC1DF0B-40F3-40F5-8821-0201EF0D289D}" dt="2021-01-26T09:30:35.115" v="2200" actId="1076"/>
          <ac:picMkLst>
            <pc:docMk/>
            <pc:sldMk cId="3797276880" sldId="4634"/>
            <ac:picMk id="7" creationId="{B3704104-25BE-4038-95A9-771843EF3EDB}"/>
          </ac:picMkLst>
        </pc:picChg>
        <pc:picChg chg="add mod">
          <ac:chgData name="Gunnar Harris-Christensen" userId="beab53f1-4426-45a5-bbc5-8ac76c0da1b9" providerId="ADAL" clId="{2FC1DF0B-40F3-40F5-8821-0201EF0D289D}" dt="2021-01-26T09:30:35.115" v="2200" actId="1076"/>
          <ac:picMkLst>
            <pc:docMk/>
            <pc:sldMk cId="3797276880" sldId="4634"/>
            <ac:picMk id="8" creationId="{594D9C5E-C22D-423F-A4D9-F3D4D0A1B6A3}"/>
          </ac:picMkLst>
        </pc:picChg>
        <pc:picChg chg="add del mod">
          <ac:chgData name="Gunnar Harris-Christensen" userId="beab53f1-4426-45a5-bbc5-8ac76c0da1b9" providerId="ADAL" clId="{2FC1DF0B-40F3-40F5-8821-0201EF0D289D}" dt="2021-01-26T09:29:04.799" v="2187" actId="478"/>
          <ac:picMkLst>
            <pc:docMk/>
            <pc:sldMk cId="3797276880" sldId="4634"/>
            <ac:picMk id="9" creationId="{812E35E6-F4A0-404D-88FD-BDDC724D6B8B}"/>
          </ac:picMkLst>
        </pc:picChg>
      </pc:sldChg>
      <pc:sldChg chg="addSp delSp modSp add mod">
        <pc:chgData name="Gunnar Harris-Christensen" userId="beab53f1-4426-45a5-bbc5-8ac76c0da1b9" providerId="ADAL" clId="{2FC1DF0B-40F3-40F5-8821-0201EF0D289D}" dt="2021-01-26T09:28:06.934" v="2184"/>
        <pc:sldMkLst>
          <pc:docMk/>
          <pc:sldMk cId="250697796" sldId="4635"/>
        </pc:sldMkLst>
        <pc:spChg chg="mod">
          <ac:chgData name="Gunnar Harris-Christensen" userId="beab53f1-4426-45a5-bbc5-8ac76c0da1b9" providerId="ADAL" clId="{2FC1DF0B-40F3-40F5-8821-0201EF0D289D}" dt="2021-01-25T12:48:25.547" v="840" actId="20577"/>
          <ac:spMkLst>
            <pc:docMk/>
            <pc:sldMk cId="250697796" sldId="4635"/>
            <ac:spMk id="5" creationId="{24666320-25CF-D845-9263-B4DA1B3F79F3}"/>
          </ac:spMkLst>
        </pc:spChg>
        <pc:spChg chg="mod">
          <ac:chgData name="Gunnar Harris-Christensen" userId="beab53f1-4426-45a5-bbc5-8ac76c0da1b9" providerId="ADAL" clId="{2FC1DF0B-40F3-40F5-8821-0201EF0D289D}" dt="2021-01-26T09:25:48.871" v="2174" actId="14100"/>
          <ac:spMkLst>
            <pc:docMk/>
            <pc:sldMk cId="250697796" sldId="4635"/>
            <ac:spMk id="91" creationId="{74246E2C-7BE1-0149-870E-7C9B5CAD9F10}"/>
          </ac:spMkLst>
        </pc:spChg>
        <pc:picChg chg="add del mod">
          <ac:chgData name="Gunnar Harris-Christensen" userId="beab53f1-4426-45a5-bbc5-8ac76c0da1b9" providerId="ADAL" clId="{2FC1DF0B-40F3-40F5-8821-0201EF0D289D}" dt="2021-01-26T09:27:40.505" v="2177" actId="21"/>
          <ac:picMkLst>
            <pc:docMk/>
            <pc:sldMk cId="250697796" sldId="4635"/>
            <ac:picMk id="4" creationId="{69E60887-1BDC-40D8-B4F9-84D2011E6D0C}"/>
          </ac:picMkLst>
        </pc:picChg>
        <pc:picChg chg="add mod">
          <ac:chgData name="Gunnar Harris-Christensen" userId="beab53f1-4426-45a5-bbc5-8ac76c0da1b9" providerId="ADAL" clId="{2FC1DF0B-40F3-40F5-8821-0201EF0D289D}" dt="2021-01-26T09:28:06.934" v="2184"/>
          <ac:picMkLst>
            <pc:docMk/>
            <pc:sldMk cId="250697796" sldId="4635"/>
            <ac:picMk id="6" creationId="{35142F40-DAA6-44D8-8D5E-6A2EAE58994A}"/>
          </ac:picMkLst>
        </pc:picChg>
      </pc:sldChg>
      <pc:sldChg chg="addSp modSp add mod">
        <pc:chgData name="Gunnar Harris-Christensen" userId="beab53f1-4426-45a5-bbc5-8ac76c0da1b9" providerId="ADAL" clId="{2FC1DF0B-40F3-40F5-8821-0201EF0D289D}" dt="2021-01-25T13:04:26.350" v="1905" actId="20577"/>
        <pc:sldMkLst>
          <pc:docMk/>
          <pc:sldMk cId="1911662697" sldId="4636"/>
        </pc:sldMkLst>
        <pc:spChg chg="add mod">
          <ac:chgData name="Gunnar Harris-Christensen" userId="beab53f1-4426-45a5-bbc5-8ac76c0da1b9" providerId="ADAL" clId="{2FC1DF0B-40F3-40F5-8821-0201EF0D289D}" dt="2021-01-25T13:03:39.564" v="1901" actId="313"/>
          <ac:spMkLst>
            <pc:docMk/>
            <pc:sldMk cId="1911662697" sldId="4636"/>
            <ac:spMk id="4" creationId="{0801F041-9220-4B46-89D0-C4C6FA6C4428}"/>
          </ac:spMkLst>
        </pc:spChg>
        <pc:spChg chg="mod">
          <ac:chgData name="Gunnar Harris-Christensen" userId="beab53f1-4426-45a5-bbc5-8ac76c0da1b9" providerId="ADAL" clId="{2FC1DF0B-40F3-40F5-8821-0201EF0D289D}" dt="2021-01-25T12:57:29.926" v="1483"/>
          <ac:spMkLst>
            <pc:docMk/>
            <pc:sldMk cId="1911662697" sldId="4636"/>
            <ac:spMk id="5" creationId="{24666320-25CF-D845-9263-B4DA1B3F79F3}"/>
          </ac:spMkLst>
        </pc:spChg>
        <pc:spChg chg="mod">
          <ac:chgData name="Gunnar Harris-Christensen" userId="beab53f1-4426-45a5-bbc5-8ac76c0da1b9" providerId="ADAL" clId="{2FC1DF0B-40F3-40F5-8821-0201EF0D289D}" dt="2021-01-25T13:04:26.350" v="1905" actId="20577"/>
          <ac:spMkLst>
            <pc:docMk/>
            <pc:sldMk cId="1911662697" sldId="4636"/>
            <ac:spMk id="91" creationId="{74246E2C-7BE1-0149-870E-7C9B5CAD9F10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A7B0-534E-46AF-B913-2118E6F921CF}" type="datetimeFigureOut">
              <a:rPr lang="nb-NO" smtClean="0"/>
              <a:t>26.01.2021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3CA77F-A035-4302-9B32-CDDCD748405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895783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Husk formatering av all tekst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6850DC-C771-49DD-9E82-696256E9C596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91648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6BE02D-20C0-F840-AFAC-BEA99C74FDC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Light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09283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999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086" indent="0" algn="ctr">
              <a:buNone/>
              <a:defRPr sz="2000"/>
            </a:lvl2pPr>
            <a:lvl3pPr marL="914172" indent="0" algn="ctr">
              <a:buNone/>
              <a:defRPr sz="1800"/>
            </a:lvl3pPr>
            <a:lvl4pPr marL="1371257" indent="0" algn="ctr">
              <a:buNone/>
              <a:defRPr sz="1600"/>
            </a:lvl4pPr>
            <a:lvl5pPr marL="1828343" indent="0" algn="ctr">
              <a:buNone/>
              <a:defRPr sz="1600"/>
            </a:lvl5pPr>
            <a:lvl6pPr marL="2285429" indent="0" algn="ctr">
              <a:buNone/>
              <a:defRPr sz="1600"/>
            </a:lvl6pPr>
            <a:lvl7pPr marL="2742514" indent="0" algn="ctr">
              <a:buNone/>
              <a:defRPr sz="1600"/>
            </a:lvl7pPr>
            <a:lvl8pPr marL="3199600" indent="0" algn="ctr">
              <a:buNone/>
              <a:defRPr sz="1600"/>
            </a:lvl8pPr>
            <a:lvl9pPr marL="3656686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9DC89A-366C-415C-891E-280AE97B260F}" type="datetimeFigureOut">
              <a:rPr lang="nb-NO" smtClean="0"/>
              <a:t>26.01.2021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4F76A4-148D-462D-BFA3-FCDD7FFDE10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623279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9DC89A-366C-415C-891E-280AE97B260F}" type="datetimeFigureOut">
              <a:rPr lang="nb-NO" smtClean="0"/>
              <a:t>26.01.2021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4F76A4-148D-462D-BFA3-FCDD7FFDE10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371520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9DC89A-366C-415C-891E-280AE97B260F}" type="datetimeFigureOut">
              <a:rPr lang="nb-NO" smtClean="0"/>
              <a:t>26.01.2021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4F76A4-148D-462D-BFA3-FCDD7FFDE10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071062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. To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66D59308-34FD-41A2-9612-A142B366185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0090" y="4954113"/>
            <a:ext cx="4140200" cy="1468437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-76200" ty="0" sx="100000" sy="100000" flip="none" algn="bl"/>
          </a:blipFill>
        </p:spPr>
        <p:txBody>
          <a:bodyPr anchor="b"/>
          <a:lstStyle>
            <a:lvl1pPr algn="l">
              <a:defRPr sz="5999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  <a:endParaRPr lang="en-GB"/>
          </a:p>
        </p:txBody>
      </p:sp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5C6E9564-C222-4CA6-9C07-E910117FBC2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20091" y="965200"/>
            <a:ext cx="5289061" cy="353568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6" name="Plassholder for bilde 6">
            <a:extLst>
              <a:ext uri="{FF2B5EF4-FFF2-40B4-BE49-F238E27FC236}">
                <a16:creationId xmlns:a16="http://schemas.microsoft.com/office/drawing/2014/main" id="{56873E30-9112-4818-ABD2-5A43F279A04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82850" y="965200"/>
            <a:ext cx="5289061" cy="353568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23831091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D9DD6903-31DD-5348-931E-827644FF87F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3663" y="946297"/>
            <a:ext cx="2907412" cy="141774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/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A102E084-4C88-634B-986D-56502F6F8C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638848" y="946297"/>
            <a:ext cx="2721593" cy="496540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74829B09-DE27-E94D-9DE4-B2AB72A7B61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453663" y="2634591"/>
            <a:ext cx="2907412" cy="327711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3978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381007AE-B219-784D-98A0-1AD23708291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425581" y="-159810"/>
            <a:ext cx="4938367" cy="721375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81345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1"/>
            <a:ext cx="12192000" cy="457200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-1" y="1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4999" spc="200" baseline="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086" indent="0" algn="ctr">
              <a:buNone/>
              <a:defRPr sz="1800"/>
            </a:lvl2pPr>
            <a:lvl3pPr marL="914172" indent="0" algn="ctr">
              <a:buNone/>
              <a:defRPr sz="1800"/>
            </a:lvl3pPr>
            <a:lvl4pPr marL="1371257" indent="0" algn="ctr">
              <a:buNone/>
              <a:defRPr sz="1800"/>
            </a:lvl4pPr>
            <a:lvl5pPr marL="1828343" indent="0" algn="ctr">
              <a:buNone/>
              <a:defRPr sz="1800"/>
            </a:lvl5pPr>
            <a:lvl6pPr marL="2285429" indent="0" algn="ctr">
              <a:buNone/>
              <a:defRPr sz="1800"/>
            </a:lvl6pPr>
            <a:lvl7pPr marL="2742514" indent="0" algn="ctr">
              <a:buNone/>
              <a:defRPr sz="1800"/>
            </a:lvl7pPr>
            <a:lvl8pPr marL="3199600" indent="0" algn="ctr">
              <a:buNone/>
              <a:defRPr sz="1800"/>
            </a:lvl8pPr>
            <a:lvl9pPr marL="3656686" indent="0" algn="ctr">
              <a:buNone/>
              <a:defRPr sz="18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fld id="{C764DE79-268F-4C1A-8933-263129D2AF90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8408647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9586255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1"/>
            <a:ext cx="12192000" cy="457200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-1" y="1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4999" b="0" spc="200" baseline="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08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1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25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3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42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5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6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8679730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24127" y="2286000"/>
            <a:ext cx="4754880" cy="402336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89320" y="2286000"/>
            <a:ext cx="4754880" cy="402336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3086619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300" b="0" cap="none" baseline="0">
                <a:solidFill>
                  <a:schemeClr val="accent1"/>
                </a:solidFill>
                <a:latin typeface="+mn-lt"/>
              </a:defRPr>
            </a:lvl1pPr>
            <a:lvl2pPr marL="457086" indent="0">
              <a:buNone/>
              <a:defRPr sz="2000" b="1"/>
            </a:lvl2pPr>
            <a:lvl3pPr marL="914172" indent="0">
              <a:buNone/>
              <a:defRPr sz="1800" b="1"/>
            </a:lvl3pPr>
            <a:lvl4pPr marL="1371257" indent="0">
              <a:buNone/>
              <a:defRPr sz="1600" b="1"/>
            </a:lvl4pPr>
            <a:lvl5pPr marL="1828343" indent="0">
              <a:buNone/>
              <a:defRPr sz="1600" b="1"/>
            </a:lvl5pPr>
            <a:lvl6pPr marL="2285429" indent="0">
              <a:buNone/>
              <a:defRPr sz="1600" b="1"/>
            </a:lvl6pPr>
            <a:lvl7pPr marL="2742514" indent="0">
              <a:buNone/>
              <a:defRPr sz="1600" b="1"/>
            </a:lvl7pPr>
            <a:lvl8pPr marL="3199600" indent="0">
              <a:buNone/>
              <a:defRPr sz="1600" b="1"/>
            </a:lvl8pPr>
            <a:lvl9pPr marL="3656686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24128" y="2967788"/>
            <a:ext cx="4754880" cy="3341572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99088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2300" b="0" kern="1200" cap="none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086" indent="0">
              <a:buNone/>
              <a:defRPr sz="2000" b="1"/>
            </a:lvl2pPr>
            <a:lvl3pPr marL="914172" indent="0">
              <a:buNone/>
              <a:defRPr sz="1800" b="1"/>
            </a:lvl3pPr>
            <a:lvl4pPr marL="1371257" indent="0">
              <a:buNone/>
              <a:defRPr sz="1600" b="1"/>
            </a:lvl4pPr>
            <a:lvl5pPr marL="1828343" indent="0">
              <a:buNone/>
              <a:defRPr sz="1600" b="1"/>
            </a:lvl5pPr>
            <a:lvl6pPr marL="2285429" indent="0">
              <a:buNone/>
              <a:defRPr sz="1600" b="1"/>
            </a:lvl6pPr>
            <a:lvl7pPr marL="2742514" indent="0">
              <a:buNone/>
              <a:defRPr sz="1600" b="1"/>
            </a:lvl7pPr>
            <a:lvl8pPr marL="3199600" indent="0">
              <a:buNone/>
              <a:defRPr sz="1600" b="1"/>
            </a:lvl8pPr>
            <a:lvl9pPr marL="3656686" indent="0">
              <a:buNone/>
              <a:defRPr sz="1600" b="1"/>
            </a:lvl9pPr>
          </a:lstStyle>
          <a:p>
            <a:pPr marL="0" lvl="0" indent="0" algn="l" defTabSz="914172" rtl="0" eaLnBrk="1" latinLnBrk="0" hangingPunct="1">
              <a:lnSpc>
                <a:spcPct val="90000"/>
              </a:lnSpc>
              <a:spcBef>
                <a:spcPts val="1800"/>
              </a:spcBef>
              <a:buNone/>
            </a:pPr>
            <a:r>
              <a:rPr lang="nb-NO"/>
              <a:t>Klikk for å redigere tekststiler i mal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990888" y="2967788"/>
            <a:ext cx="4754880" cy="3341572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3272524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9DC89A-366C-415C-891E-280AE97B260F}" type="datetimeFigureOut">
              <a:rPr lang="nb-NO" smtClean="0"/>
              <a:t>26.01.2021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4F76A4-148D-462D-BFA3-FCDD7FFDE10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824429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8009169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8731220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24128" y="471509"/>
            <a:ext cx="4389120" cy="173736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3999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000" y="822960"/>
            <a:ext cx="5678424" cy="518464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24128" y="2257506"/>
            <a:ext cx="4389120" cy="3762294"/>
          </a:xfrm>
        </p:spPr>
        <p:txBody>
          <a:bodyPr lIns="91440" rIns="91440">
            <a:normAutofit/>
          </a:bodyPr>
          <a:lstStyle>
            <a:lvl1pPr marL="0" indent="0">
              <a:lnSpc>
                <a:spcPct val="108000"/>
              </a:lnSpc>
              <a:spcBef>
                <a:spcPts val="600"/>
              </a:spcBef>
              <a:buNone/>
              <a:defRPr sz="1600"/>
            </a:lvl1pPr>
            <a:lvl2pPr marL="457086" indent="0">
              <a:buNone/>
              <a:defRPr sz="1200"/>
            </a:lvl2pPr>
            <a:lvl3pPr marL="914172" indent="0">
              <a:buNone/>
              <a:defRPr sz="1000"/>
            </a:lvl3pPr>
            <a:lvl4pPr marL="1371257" indent="0">
              <a:buNone/>
              <a:defRPr sz="900"/>
            </a:lvl4pPr>
            <a:lvl5pPr marL="1828343" indent="0">
              <a:buNone/>
              <a:defRPr sz="900"/>
            </a:lvl5pPr>
            <a:lvl6pPr marL="2285429" indent="0">
              <a:buNone/>
              <a:defRPr sz="900"/>
            </a:lvl6pPr>
            <a:lvl7pPr marL="2742514" indent="0">
              <a:buNone/>
              <a:defRPr sz="900"/>
            </a:lvl7pPr>
            <a:lvl8pPr marL="3199600" indent="0">
              <a:buNone/>
              <a:defRPr sz="900"/>
            </a:lvl8pPr>
            <a:lvl9pPr marL="3656686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8172984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8"/>
            <a:ext cx="7772400" cy="1463040"/>
          </a:xfrm>
        </p:spPr>
        <p:txBody>
          <a:bodyPr anchor="ctr">
            <a:normAutofit/>
          </a:bodyPr>
          <a:lstStyle>
            <a:lvl1pPr algn="r">
              <a:defRPr sz="4999" spc="200" baseline="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-1"/>
            <a:ext cx="12188952" cy="4572000"/>
          </a:xfrm>
          <a:solidFill>
            <a:schemeClr val="accent1">
              <a:lumMod val="60000"/>
              <a:lumOff val="40000"/>
            </a:schemeClr>
          </a:solidFill>
        </p:spPr>
        <p:txBody>
          <a:bodyPr lIns="457200" tIns="365760" rIns="45720" bIns="45720" anchor="t"/>
          <a:lstStyle>
            <a:lvl1pPr marL="0" indent="0">
              <a:buNone/>
              <a:defRPr sz="3199"/>
            </a:lvl1pPr>
            <a:lvl2pPr marL="457086" indent="0">
              <a:buNone/>
              <a:defRPr sz="2800"/>
            </a:lvl2pPr>
            <a:lvl3pPr marL="914172" indent="0">
              <a:buNone/>
              <a:defRPr sz="2400"/>
            </a:lvl3pPr>
            <a:lvl4pPr marL="1371257" indent="0">
              <a:buNone/>
              <a:defRPr sz="2000"/>
            </a:lvl4pPr>
            <a:lvl5pPr marL="1828343" indent="0">
              <a:buNone/>
              <a:defRPr sz="2000"/>
            </a:lvl5pPr>
            <a:lvl6pPr marL="2285429" indent="0">
              <a:buNone/>
              <a:defRPr sz="2000"/>
            </a:lvl6pPr>
            <a:lvl7pPr marL="2742514" indent="0">
              <a:buNone/>
              <a:defRPr sz="2000"/>
            </a:lvl7pPr>
            <a:lvl8pPr marL="3199600" indent="0">
              <a:buNone/>
              <a:defRPr sz="2000"/>
            </a:lvl8pPr>
            <a:lvl9pPr marL="3656686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10600" y="4960138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086" indent="0">
              <a:buNone/>
              <a:defRPr sz="1400"/>
            </a:lvl2pPr>
            <a:lvl3pPr marL="914172" indent="0">
              <a:buNone/>
              <a:defRPr sz="1200"/>
            </a:lvl3pPr>
            <a:lvl4pPr marL="1371257" indent="0">
              <a:buNone/>
              <a:defRPr sz="1000"/>
            </a:lvl4pPr>
            <a:lvl5pPr marL="1828343" indent="0">
              <a:buNone/>
              <a:defRPr sz="1000"/>
            </a:lvl5pPr>
            <a:lvl6pPr marL="2285429" indent="0">
              <a:buNone/>
              <a:defRPr sz="1000"/>
            </a:lvl6pPr>
            <a:lvl7pPr marL="2742514" indent="0">
              <a:buNone/>
              <a:defRPr sz="1000"/>
            </a:lvl7pPr>
            <a:lvl8pPr marL="3199600" indent="0">
              <a:buNone/>
              <a:defRPr sz="1000"/>
            </a:lvl8pPr>
            <a:lvl9pPr marL="3656686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2735378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356055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762000"/>
            <a:ext cx="2628900" cy="5410200"/>
          </a:xfrm>
        </p:spPr>
        <p:txBody>
          <a:bodyPr vert="eaVert" lIns="45720" tIns="91440" rIns="45720" bIns="91440"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1" y="762000"/>
            <a:ext cx="7581900" cy="5410200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 rot="5400000" flipV="1">
            <a:off x="10058400" y="59263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7165055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D9DD6903-31DD-5348-931E-827644FF87F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340419" y="1277006"/>
            <a:ext cx="10851582" cy="558099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637849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91969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D9DD6903-31DD-5348-931E-827644FF87F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4639" y="1819735"/>
            <a:ext cx="6593542" cy="270262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035594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D9DD6903-31DD-5348-931E-827644FF87F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421767"/>
            <a:ext cx="5687588" cy="601446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68292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>
              <a:defRPr sz="5999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08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17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2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3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4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5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6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9DC89A-366C-415C-891E-280AE97B260F}" type="datetimeFigureOut">
              <a:rPr lang="nb-NO" smtClean="0"/>
              <a:t>26.01.2021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4F76A4-148D-462D-BFA3-FCDD7FFDE10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7577835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D9DD6903-31DD-5348-931E-827644FF87F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8412" y="421767"/>
            <a:ext cx="5687588" cy="601446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06159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BE759A75-1161-B64E-B42B-EAE12408AE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9342" y="1861114"/>
            <a:ext cx="4760044" cy="298158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462331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BE759A75-1161-B64E-B42B-EAE12408AE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253713" y="1348872"/>
            <a:ext cx="3126402" cy="421190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34126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2"/>
            <a:ext cx="12192000" cy="457200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-1" y="2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4998" spc="200" baseline="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6972" indent="0" algn="ctr">
              <a:buNone/>
              <a:defRPr sz="1800"/>
            </a:lvl2pPr>
            <a:lvl3pPr marL="913944" indent="0" algn="ctr">
              <a:buNone/>
              <a:defRPr sz="1800"/>
            </a:lvl3pPr>
            <a:lvl4pPr marL="1370914" indent="0" algn="ctr">
              <a:buNone/>
              <a:defRPr sz="1800"/>
            </a:lvl4pPr>
            <a:lvl5pPr marL="1827886" indent="0" algn="ctr">
              <a:buNone/>
              <a:defRPr sz="1800"/>
            </a:lvl5pPr>
            <a:lvl6pPr marL="2284858" indent="0" algn="ctr">
              <a:buNone/>
              <a:defRPr sz="1800"/>
            </a:lvl6pPr>
            <a:lvl7pPr marL="2741829" indent="0" algn="ctr">
              <a:buNone/>
              <a:defRPr sz="1800"/>
            </a:lvl7pPr>
            <a:lvl8pPr marL="3198800" indent="0" algn="ctr">
              <a:buNone/>
              <a:defRPr sz="1800"/>
            </a:lvl8pPr>
            <a:lvl9pPr marL="3655772" indent="0" algn="ctr">
              <a:buNone/>
              <a:defRPr sz="18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fld id="{C764DE79-268F-4C1A-8933-263129D2AF90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4663743"/>
      </p:ext>
    </p:extLst>
  </p:cSld>
  <p:clrMapOvr>
    <a:masterClrMapping/>
  </p:clrMapOvr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998345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2"/>
            <a:ext cx="12192000" cy="457200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-1" y="2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4998" b="0" spc="200" baseline="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697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94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9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8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85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82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57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2754130"/>
      </p:ext>
    </p:extLst>
  </p:cSld>
  <p:clrMapOvr>
    <a:masterClrMapping/>
  </p:clrMapOvr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24127" y="2286000"/>
            <a:ext cx="4754880" cy="402336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89320" y="2286000"/>
            <a:ext cx="4754880" cy="402336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2636697"/>
      </p:ext>
    </p:extLst>
  </p:cSld>
  <p:clrMapOvr>
    <a:masterClrMapping/>
  </p:clrMapOvr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300" b="0" cap="none" baseline="0">
                <a:solidFill>
                  <a:schemeClr val="accent1"/>
                </a:solidFill>
                <a:latin typeface="+mn-lt"/>
              </a:defRPr>
            </a:lvl1pPr>
            <a:lvl2pPr marL="456972" indent="0">
              <a:buNone/>
              <a:defRPr sz="2000" b="1"/>
            </a:lvl2pPr>
            <a:lvl3pPr marL="913944" indent="0">
              <a:buNone/>
              <a:defRPr sz="1800" b="1"/>
            </a:lvl3pPr>
            <a:lvl4pPr marL="1370914" indent="0">
              <a:buNone/>
              <a:defRPr sz="1600" b="1"/>
            </a:lvl4pPr>
            <a:lvl5pPr marL="1827886" indent="0">
              <a:buNone/>
              <a:defRPr sz="1600" b="1"/>
            </a:lvl5pPr>
            <a:lvl6pPr marL="2284858" indent="0">
              <a:buNone/>
              <a:defRPr sz="1600" b="1"/>
            </a:lvl6pPr>
            <a:lvl7pPr marL="2741829" indent="0">
              <a:buNone/>
              <a:defRPr sz="1600" b="1"/>
            </a:lvl7pPr>
            <a:lvl8pPr marL="3198800" indent="0">
              <a:buNone/>
              <a:defRPr sz="1600" b="1"/>
            </a:lvl8pPr>
            <a:lvl9pPr marL="3655772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24128" y="2967788"/>
            <a:ext cx="4754880" cy="3341572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99088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2300" b="0" kern="1200" cap="none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6972" indent="0">
              <a:buNone/>
              <a:defRPr sz="2000" b="1"/>
            </a:lvl2pPr>
            <a:lvl3pPr marL="913944" indent="0">
              <a:buNone/>
              <a:defRPr sz="1800" b="1"/>
            </a:lvl3pPr>
            <a:lvl4pPr marL="1370914" indent="0">
              <a:buNone/>
              <a:defRPr sz="1600" b="1"/>
            </a:lvl4pPr>
            <a:lvl5pPr marL="1827886" indent="0">
              <a:buNone/>
              <a:defRPr sz="1600" b="1"/>
            </a:lvl5pPr>
            <a:lvl6pPr marL="2284858" indent="0">
              <a:buNone/>
              <a:defRPr sz="1600" b="1"/>
            </a:lvl6pPr>
            <a:lvl7pPr marL="2741829" indent="0">
              <a:buNone/>
              <a:defRPr sz="1600" b="1"/>
            </a:lvl7pPr>
            <a:lvl8pPr marL="3198800" indent="0">
              <a:buNone/>
              <a:defRPr sz="1600" b="1"/>
            </a:lvl8pPr>
            <a:lvl9pPr marL="3655772" indent="0">
              <a:buNone/>
              <a:defRPr sz="1600" b="1"/>
            </a:lvl9pPr>
          </a:lstStyle>
          <a:p>
            <a:pPr marL="0" lvl="0" indent="0" algn="l" defTabSz="913944" rtl="0" eaLnBrk="1" latinLnBrk="0" hangingPunct="1">
              <a:lnSpc>
                <a:spcPct val="90000"/>
              </a:lnSpc>
              <a:spcBef>
                <a:spcPts val="1800"/>
              </a:spcBef>
              <a:buNone/>
            </a:pPr>
            <a:r>
              <a:rPr lang="nb-NO"/>
              <a:t>Klikk for å redigere tekststiler i mal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990888" y="2967788"/>
            <a:ext cx="4754880" cy="3341572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0562042"/>
      </p:ext>
    </p:extLst>
  </p:cSld>
  <p:clrMapOvr>
    <a:masterClrMapping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0040046"/>
      </p:ext>
    </p:extLst>
  </p:cSld>
  <p:clrMapOvr>
    <a:masterClrMapping/>
  </p:clrMapOvr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0092955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9DC89A-366C-415C-891E-280AE97B260F}" type="datetimeFigureOut">
              <a:rPr lang="nb-NO" smtClean="0"/>
              <a:t>26.01.2021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4F76A4-148D-462D-BFA3-FCDD7FFDE10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9306699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24128" y="471509"/>
            <a:ext cx="4389120" cy="173736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3998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000" y="822960"/>
            <a:ext cx="5678424" cy="518464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24128" y="2257506"/>
            <a:ext cx="4389120" cy="3762294"/>
          </a:xfrm>
        </p:spPr>
        <p:txBody>
          <a:bodyPr lIns="91440" rIns="91440">
            <a:normAutofit/>
          </a:bodyPr>
          <a:lstStyle>
            <a:lvl1pPr marL="0" indent="0">
              <a:lnSpc>
                <a:spcPct val="108000"/>
              </a:lnSpc>
              <a:spcBef>
                <a:spcPts val="600"/>
              </a:spcBef>
              <a:buNone/>
              <a:defRPr sz="1600"/>
            </a:lvl1pPr>
            <a:lvl2pPr marL="456972" indent="0">
              <a:buNone/>
              <a:defRPr sz="1200"/>
            </a:lvl2pPr>
            <a:lvl3pPr marL="913944" indent="0">
              <a:buNone/>
              <a:defRPr sz="1000"/>
            </a:lvl3pPr>
            <a:lvl4pPr marL="1370914" indent="0">
              <a:buNone/>
              <a:defRPr sz="900"/>
            </a:lvl4pPr>
            <a:lvl5pPr marL="1827886" indent="0">
              <a:buNone/>
              <a:defRPr sz="900"/>
            </a:lvl5pPr>
            <a:lvl6pPr marL="2284858" indent="0">
              <a:buNone/>
              <a:defRPr sz="900"/>
            </a:lvl6pPr>
            <a:lvl7pPr marL="2741829" indent="0">
              <a:buNone/>
              <a:defRPr sz="900"/>
            </a:lvl7pPr>
            <a:lvl8pPr marL="3198800" indent="0">
              <a:buNone/>
              <a:defRPr sz="900"/>
            </a:lvl8pPr>
            <a:lvl9pPr marL="3655772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2155453"/>
      </p:ext>
    </p:extLst>
  </p:cSld>
  <p:clrMapOvr>
    <a:masterClrMapping/>
  </p:clrMapOvr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8"/>
            <a:ext cx="7772400" cy="1463040"/>
          </a:xfrm>
        </p:spPr>
        <p:txBody>
          <a:bodyPr anchor="ctr">
            <a:normAutofit/>
          </a:bodyPr>
          <a:lstStyle>
            <a:lvl1pPr algn="r">
              <a:defRPr sz="4998" spc="200" baseline="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-1"/>
            <a:ext cx="12188952" cy="4572000"/>
          </a:xfrm>
          <a:solidFill>
            <a:schemeClr val="accent1">
              <a:lumMod val="60000"/>
              <a:lumOff val="40000"/>
            </a:schemeClr>
          </a:solidFill>
        </p:spPr>
        <p:txBody>
          <a:bodyPr lIns="457200" tIns="365760" rIns="45720" bIns="45720" anchor="t"/>
          <a:lstStyle>
            <a:lvl1pPr marL="0" indent="0">
              <a:buNone/>
              <a:defRPr sz="3198"/>
            </a:lvl1pPr>
            <a:lvl2pPr marL="456972" indent="0">
              <a:buNone/>
              <a:defRPr sz="2800"/>
            </a:lvl2pPr>
            <a:lvl3pPr marL="913944" indent="0">
              <a:buNone/>
              <a:defRPr sz="2400"/>
            </a:lvl3pPr>
            <a:lvl4pPr marL="1370914" indent="0">
              <a:buNone/>
              <a:defRPr sz="2000"/>
            </a:lvl4pPr>
            <a:lvl5pPr marL="1827886" indent="0">
              <a:buNone/>
              <a:defRPr sz="2000"/>
            </a:lvl5pPr>
            <a:lvl6pPr marL="2284858" indent="0">
              <a:buNone/>
              <a:defRPr sz="2000"/>
            </a:lvl6pPr>
            <a:lvl7pPr marL="2741829" indent="0">
              <a:buNone/>
              <a:defRPr sz="2000"/>
            </a:lvl7pPr>
            <a:lvl8pPr marL="3198800" indent="0">
              <a:buNone/>
              <a:defRPr sz="2000"/>
            </a:lvl8pPr>
            <a:lvl9pPr marL="3655772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10600" y="4960138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6972" indent="0">
              <a:buNone/>
              <a:defRPr sz="1400"/>
            </a:lvl2pPr>
            <a:lvl3pPr marL="913944" indent="0">
              <a:buNone/>
              <a:defRPr sz="1200"/>
            </a:lvl3pPr>
            <a:lvl4pPr marL="1370914" indent="0">
              <a:buNone/>
              <a:defRPr sz="1000"/>
            </a:lvl4pPr>
            <a:lvl5pPr marL="1827886" indent="0">
              <a:buNone/>
              <a:defRPr sz="1000"/>
            </a:lvl5pPr>
            <a:lvl6pPr marL="2284858" indent="0">
              <a:buNone/>
              <a:defRPr sz="1000"/>
            </a:lvl6pPr>
            <a:lvl7pPr marL="2741829" indent="0">
              <a:buNone/>
              <a:defRPr sz="1000"/>
            </a:lvl7pPr>
            <a:lvl8pPr marL="3198800" indent="0">
              <a:buNone/>
              <a:defRPr sz="1000"/>
            </a:lvl8pPr>
            <a:lvl9pPr marL="3655772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962699"/>
      </p:ext>
    </p:extLst>
  </p:cSld>
  <p:clrMapOvr>
    <a:masterClrMapping/>
  </p:clrMapOvr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5318878"/>
      </p:ext>
    </p:extLst>
  </p:cSld>
  <p:clrMapOvr>
    <a:masterClrMapping/>
  </p:clrMapOvr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762000"/>
            <a:ext cx="2628900" cy="5410200"/>
          </a:xfrm>
        </p:spPr>
        <p:txBody>
          <a:bodyPr vert="eaVert" lIns="45720" tIns="91440" rIns="45720" bIns="91440"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1" y="762000"/>
            <a:ext cx="7581900" cy="5410200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 rot="5400000" flipV="1">
            <a:off x="10058400" y="59263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821424"/>
      </p:ext>
    </p:extLst>
  </p:cSld>
  <p:clrMapOvr>
    <a:masterClrMapping/>
  </p:clrMapOvr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D9DD6903-31DD-5348-931E-827644FF87F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340419" y="1277006"/>
            <a:ext cx="10851582" cy="558099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125787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258408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D9DD6903-31DD-5348-931E-827644FF87F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4639" y="1819736"/>
            <a:ext cx="6593542" cy="270262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213082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D9DD6903-31DD-5348-931E-827644FF87F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421768"/>
            <a:ext cx="5687588" cy="601446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45232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D9DD6903-31DD-5348-931E-827644FF87F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8412" y="421768"/>
            <a:ext cx="5687588" cy="601446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23358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BE759A75-1161-B64E-B42B-EAE12408AE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9342" y="1861114"/>
            <a:ext cx="4760044" cy="298158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81879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86" indent="0">
              <a:buNone/>
              <a:defRPr sz="2000" b="1"/>
            </a:lvl2pPr>
            <a:lvl3pPr marL="914172" indent="0">
              <a:buNone/>
              <a:defRPr sz="1800" b="1"/>
            </a:lvl3pPr>
            <a:lvl4pPr marL="1371257" indent="0">
              <a:buNone/>
              <a:defRPr sz="1600" b="1"/>
            </a:lvl4pPr>
            <a:lvl5pPr marL="1828343" indent="0">
              <a:buNone/>
              <a:defRPr sz="1600" b="1"/>
            </a:lvl5pPr>
            <a:lvl6pPr marL="2285429" indent="0">
              <a:buNone/>
              <a:defRPr sz="1600" b="1"/>
            </a:lvl6pPr>
            <a:lvl7pPr marL="2742514" indent="0">
              <a:buNone/>
              <a:defRPr sz="1600" b="1"/>
            </a:lvl7pPr>
            <a:lvl8pPr marL="3199600" indent="0">
              <a:buNone/>
              <a:defRPr sz="1600" b="1"/>
            </a:lvl8pPr>
            <a:lvl9pPr marL="3656686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86" indent="0">
              <a:buNone/>
              <a:defRPr sz="2000" b="1"/>
            </a:lvl2pPr>
            <a:lvl3pPr marL="914172" indent="0">
              <a:buNone/>
              <a:defRPr sz="1800" b="1"/>
            </a:lvl3pPr>
            <a:lvl4pPr marL="1371257" indent="0">
              <a:buNone/>
              <a:defRPr sz="1600" b="1"/>
            </a:lvl4pPr>
            <a:lvl5pPr marL="1828343" indent="0">
              <a:buNone/>
              <a:defRPr sz="1600" b="1"/>
            </a:lvl5pPr>
            <a:lvl6pPr marL="2285429" indent="0">
              <a:buNone/>
              <a:defRPr sz="1600" b="1"/>
            </a:lvl6pPr>
            <a:lvl7pPr marL="2742514" indent="0">
              <a:buNone/>
              <a:defRPr sz="1600" b="1"/>
            </a:lvl7pPr>
            <a:lvl8pPr marL="3199600" indent="0">
              <a:buNone/>
              <a:defRPr sz="1600" b="1"/>
            </a:lvl8pPr>
            <a:lvl9pPr marL="3656686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9DC89A-366C-415C-891E-280AE97B260F}" type="datetimeFigureOut">
              <a:rPr lang="nb-NO" smtClean="0"/>
              <a:t>26.01.2021</a:t>
            </a:fld>
            <a:endParaRPr lang="nb-NO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4F76A4-148D-462D-BFA3-FCDD7FFDE10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9137808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BE759A75-1161-B64E-B42B-EAE12408AE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253713" y="1348872"/>
            <a:ext cx="3126402" cy="421190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35427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1"/>
            <a:ext cx="12192000" cy="457200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-1" y="1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4999" spc="200" baseline="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086" indent="0" algn="ctr">
              <a:buNone/>
              <a:defRPr sz="1800"/>
            </a:lvl2pPr>
            <a:lvl3pPr marL="914172" indent="0" algn="ctr">
              <a:buNone/>
              <a:defRPr sz="1800"/>
            </a:lvl3pPr>
            <a:lvl4pPr marL="1371257" indent="0" algn="ctr">
              <a:buNone/>
              <a:defRPr sz="1800"/>
            </a:lvl4pPr>
            <a:lvl5pPr marL="1828343" indent="0" algn="ctr">
              <a:buNone/>
              <a:defRPr sz="1800"/>
            </a:lvl5pPr>
            <a:lvl6pPr marL="2285429" indent="0" algn="ctr">
              <a:buNone/>
              <a:defRPr sz="1800"/>
            </a:lvl6pPr>
            <a:lvl7pPr marL="2742514" indent="0" algn="ctr">
              <a:buNone/>
              <a:defRPr sz="1800"/>
            </a:lvl7pPr>
            <a:lvl8pPr marL="3199600" indent="0" algn="ctr">
              <a:buNone/>
              <a:defRPr sz="1800"/>
            </a:lvl8pPr>
            <a:lvl9pPr marL="3656686" indent="0" algn="ctr">
              <a:buNone/>
              <a:defRPr sz="18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fld id="{C764DE79-268F-4C1A-8933-263129D2AF90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3057384"/>
      </p:ext>
    </p:extLst>
  </p:cSld>
  <p:clrMapOvr>
    <a:masterClrMapping/>
  </p:clrMapOvr>
  <p:hf hdr="0" ft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6313440"/>
      </p:ext>
    </p:extLst>
  </p:cSld>
  <p:clrMapOvr>
    <a:masterClrMapping/>
  </p:clrMapOvr>
  <p:hf hdr="0" ft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1"/>
            <a:ext cx="12192000" cy="457200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-1" y="1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4999" b="0" spc="200" baseline="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08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1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25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3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42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5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6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7079805"/>
      </p:ext>
    </p:extLst>
  </p:cSld>
  <p:clrMapOvr>
    <a:masterClrMapping/>
  </p:clrMapOvr>
  <p:hf hdr="0" ft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24127" y="2286000"/>
            <a:ext cx="4754880" cy="402336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89320" y="2286000"/>
            <a:ext cx="4754880" cy="402336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0950677"/>
      </p:ext>
    </p:extLst>
  </p:cSld>
  <p:clrMapOvr>
    <a:masterClrMapping/>
  </p:clrMapOvr>
  <p:hf hdr="0" ft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300" b="0" cap="none" baseline="0">
                <a:solidFill>
                  <a:schemeClr val="accent1"/>
                </a:solidFill>
                <a:latin typeface="+mn-lt"/>
              </a:defRPr>
            </a:lvl1pPr>
            <a:lvl2pPr marL="457086" indent="0">
              <a:buNone/>
              <a:defRPr sz="2000" b="1"/>
            </a:lvl2pPr>
            <a:lvl3pPr marL="914172" indent="0">
              <a:buNone/>
              <a:defRPr sz="1800" b="1"/>
            </a:lvl3pPr>
            <a:lvl4pPr marL="1371257" indent="0">
              <a:buNone/>
              <a:defRPr sz="1600" b="1"/>
            </a:lvl4pPr>
            <a:lvl5pPr marL="1828343" indent="0">
              <a:buNone/>
              <a:defRPr sz="1600" b="1"/>
            </a:lvl5pPr>
            <a:lvl6pPr marL="2285429" indent="0">
              <a:buNone/>
              <a:defRPr sz="1600" b="1"/>
            </a:lvl6pPr>
            <a:lvl7pPr marL="2742514" indent="0">
              <a:buNone/>
              <a:defRPr sz="1600" b="1"/>
            </a:lvl7pPr>
            <a:lvl8pPr marL="3199600" indent="0">
              <a:buNone/>
              <a:defRPr sz="1600" b="1"/>
            </a:lvl8pPr>
            <a:lvl9pPr marL="3656686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24128" y="2967788"/>
            <a:ext cx="4754880" cy="3341572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99088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2300" b="0" kern="1200" cap="none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086" indent="0">
              <a:buNone/>
              <a:defRPr sz="2000" b="1"/>
            </a:lvl2pPr>
            <a:lvl3pPr marL="914172" indent="0">
              <a:buNone/>
              <a:defRPr sz="1800" b="1"/>
            </a:lvl3pPr>
            <a:lvl4pPr marL="1371257" indent="0">
              <a:buNone/>
              <a:defRPr sz="1600" b="1"/>
            </a:lvl4pPr>
            <a:lvl5pPr marL="1828343" indent="0">
              <a:buNone/>
              <a:defRPr sz="1600" b="1"/>
            </a:lvl5pPr>
            <a:lvl6pPr marL="2285429" indent="0">
              <a:buNone/>
              <a:defRPr sz="1600" b="1"/>
            </a:lvl6pPr>
            <a:lvl7pPr marL="2742514" indent="0">
              <a:buNone/>
              <a:defRPr sz="1600" b="1"/>
            </a:lvl7pPr>
            <a:lvl8pPr marL="3199600" indent="0">
              <a:buNone/>
              <a:defRPr sz="1600" b="1"/>
            </a:lvl8pPr>
            <a:lvl9pPr marL="3656686" indent="0">
              <a:buNone/>
              <a:defRPr sz="1600" b="1"/>
            </a:lvl9pPr>
          </a:lstStyle>
          <a:p>
            <a:pPr marL="0" lvl="0" indent="0" algn="l" defTabSz="914172" rtl="0" eaLnBrk="1" latinLnBrk="0" hangingPunct="1">
              <a:lnSpc>
                <a:spcPct val="90000"/>
              </a:lnSpc>
              <a:spcBef>
                <a:spcPts val="1800"/>
              </a:spcBef>
              <a:buNone/>
            </a:pPr>
            <a:r>
              <a:rPr lang="nb-NO"/>
              <a:t>Klikk for å redigere tekststiler i mal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990888" y="2967788"/>
            <a:ext cx="4754880" cy="3341572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2664732"/>
      </p:ext>
    </p:extLst>
  </p:cSld>
  <p:clrMapOvr>
    <a:masterClrMapping/>
  </p:clrMapOvr>
  <p:hf hdr="0" ft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4971066"/>
      </p:ext>
    </p:extLst>
  </p:cSld>
  <p:clrMapOvr>
    <a:masterClrMapping/>
  </p:clrMapOvr>
  <p:hf hdr="0" ft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8931824"/>
      </p:ext>
    </p:extLst>
  </p:cSld>
  <p:clrMapOvr>
    <a:masterClrMapping/>
  </p:clrMapOvr>
  <p:hf hdr="0" ft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24128" y="471509"/>
            <a:ext cx="4389120" cy="173736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3999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000" y="822960"/>
            <a:ext cx="5678424" cy="518464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24128" y="2257506"/>
            <a:ext cx="4389120" cy="3762294"/>
          </a:xfrm>
        </p:spPr>
        <p:txBody>
          <a:bodyPr lIns="91440" rIns="91440">
            <a:normAutofit/>
          </a:bodyPr>
          <a:lstStyle>
            <a:lvl1pPr marL="0" indent="0">
              <a:lnSpc>
                <a:spcPct val="108000"/>
              </a:lnSpc>
              <a:spcBef>
                <a:spcPts val="600"/>
              </a:spcBef>
              <a:buNone/>
              <a:defRPr sz="1600"/>
            </a:lvl1pPr>
            <a:lvl2pPr marL="457086" indent="0">
              <a:buNone/>
              <a:defRPr sz="1200"/>
            </a:lvl2pPr>
            <a:lvl3pPr marL="914172" indent="0">
              <a:buNone/>
              <a:defRPr sz="1000"/>
            </a:lvl3pPr>
            <a:lvl4pPr marL="1371257" indent="0">
              <a:buNone/>
              <a:defRPr sz="900"/>
            </a:lvl4pPr>
            <a:lvl5pPr marL="1828343" indent="0">
              <a:buNone/>
              <a:defRPr sz="900"/>
            </a:lvl5pPr>
            <a:lvl6pPr marL="2285429" indent="0">
              <a:buNone/>
              <a:defRPr sz="900"/>
            </a:lvl6pPr>
            <a:lvl7pPr marL="2742514" indent="0">
              <a:buNone/>
              <a:defRPr sz="900"/>
            </a:lvl7pPr>
            <a:lvl8pPr marL="3199600" indent="0">
              <a:buNone/>
              <a:defRPr sz="900"/>
            </a:lvl8pPr>
            <a:lvl9pPr marL="3656686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0041328"/>
      </p:ext>
    </p:extLst>
  </p:cSld>
  <p:clrMapOvr>
    <a:masterClrMapping/>
  </p:clrMapOvr>
  <p:hf hdr="0" ft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8"/>
            <a:ext cx="7772400" cy="1463040"/>
          </a:xfrm>
        </p:spPr>
        <p:txBody>
          <a:bodyPr anchor="ctr">
            <a:normAutofit/>
          </a:bodyPr>
          <a:lstStyle>
            <a:lvl1pPr algn="r">
              <a:defRPr sz="4999" spc="200" baseline="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-1"/>
            <a:ext cx="12188952" cy="4572000"/>
          </a:xfrm>
          <a:solidFill>
            <a:schemeClr val="accent1">
              <a:lumMod val="60000"/>
              <a:lumOff val="40000"/>
            </a:schemeClr>
          </a:solidFill>
        </p:spPr>
        <p:txBody>
          <a:bodyPr lIns="457200" tIns="365760" rIns="45720" bIns="45720" anchor="t"/>
          <a:lstStyle>
            <a:lvl1pPr marL="0" indent="0">
              <a:buNone/>
              <a:defRPr sz="3199"/>
            </a:lvl1pPr>
            <a:lvl2pPr marL="457086" indent="0">
              <a:buNone/>
              <a:defRPr sz="2800"/>
            </a:lvl2pPr>
            <a:lvl3pPr marL="914172" indent="0">
              <a:buNone/>
              <a:defRPr sz="2400"/>
            </a:lvl3pPr>
            <a:lvl4pPr marL="1371257" indent="0">
              <a:buNone/>
              <a:defRPr sz="2000"/>
            </a:lvl4pPr>
            <a:lvl5pPr marL="1828343" indent="0">
              <a:buNone/>
              <a:defRPr sz="2000"/>
            </a:lvl5pPr>
            <a:lvl6pPr marL="2285429" indent="0">
              <a:buNone/>
              <a:defRPr sz="2000"/>
            </a:lvl6pPr>
            <a:lvl7pPr marL="2742514" indent="0">
              <a:buNone/>
              <a:defRPr sz="2000"/>
            </a:lvl7pPr>
            <a:lvl8pPr marL="3199600" indent="0">
              <a:buNone/>
              <a:defRPr sz="2000"/>
            </a:lvl8pPr>
            <a:lvl9pPr marL="3656686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10600" y="4960138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086" indent="0">
              <a:buNone/>
              <a:defRPr sz="1400"/>
            </a:lvl2pPr>
            <a:lvl3pPr marL="914172" indent="0">
              <a:buNone/>
              <a:defRPr sz="1200"/>
            </a:lvl3pPr>
            <a:lvl4pPr marL="1371257" indent="0">
              <a:buNone/>
              <a:defRPr sz="1000"/>
            </a:lvl4pPr>
            <a:lvl5pPr marL="1828343" indent="0">
              <a:buNone/>
              <a:defRPr sz="1000"/>
            </a:lvl5pPr>
            <a:lvl6pPr marL="2285429" indent="0">
              <a:buNone/>
              <a:defRPr sz="1000"/>
            </a:lvl6pPr>
            <a:lvl7pPr marL="2742514" indent="0">
              <a:buNone/>
              <a:defRPr sz="1000"/>
            </a:lvl7pPr>
            <a:lvl8pPr marL="3199600" indent="0">
              <a:buNone/>
              <a:defRPr sz="1000"/>
            </a:lvl8pPr>
            <a:lvl9pPr marL="3656686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606368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9DC89A-366C-415C-891E-280AE97B260F}" type="datetimeFigureOut">
              <a:rPr lang="nb-NO" smtClean="0"/>
              <a:t>26.01.2021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4F76A4-148D-462D-BFA3-FCDD7FFDE10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3006148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680854"/>
      </p:ext>
    </p:extLst>
  </p:cSld>
  <p:clrMapOvr>
    <a:masterClrMapping/>
  </p:clrMapOvr>
  <p:hf hdr="0" ft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762000"/>
            <a:ext cx="2628900" cy="5410200"/>
          </a:xfrm>
        </p:spPr>
        <p:txBody>
          <a:bodyPr vert="eaVert" lIns="45720" tIns="91440" rIns="45720" bIns="91440"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1" y="762000"/>
            <a:ext cx="7581900" cy="5410200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 rot="5400000" flipV="1">
            <a:off x="10058400" y="59263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7451132"/>
      </p:ext>
    </p:extLst>
  </p:cSld>
  <p:clrMapOvr>
    <a:masterClrMapping/>
  </p:clrMapOvr>
  <p:hf hdr="0" ft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874166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D9DD6903-31DD-5348-931E-827644FF87F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4639" y="1819735"/>
            <a:ext cx="6593542" cy="270262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931560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BE759A75-1161-B64E-B42B-EAE12408AE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9342" y="1861114"/>
            <a:ext cx="4760044" cy="298158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608985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BE759A75-1161-B64E-B42B-EAE12408AE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253713" y="1348872"/>
            <a:ext cx="3126402" cy="421190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797644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D9DD6903-31DD-5348-931E-827644FF87F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421767"/>
            <a:ext cx="5687588" cy="601446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476182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D9DD6903-31DD-5348-931E-827644FF87F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8412" y="421767"/>
            <a:ext cx="5687588" cy="601446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6675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9DC89A-366C-415C-891E-280AE97B260F}" type="datetimeFigureOut">
              <a:rPr lang="nb-NO" smtClean="0"/>
              <a:t>26.01.2021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4F76A4-148D-462D-BFA3-FCDD7FFDE10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352248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199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199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86" indent="0">
              <a:buNone/>
              <a:defRPr sz="1400"/>
            </a:lvl2pPr>
            <a:lvl3pPr marL="914172" indent="0">
              <a:buNone/>
              <a:defRPr sz="1200"/>
            </a:lvl3pPr>
            <a:lvl4pPr marL="1371257" indent="0">
              <a:buNone/>
              <a:defRPr sz="1000"/>
            </a:lvl4pPr>
            <a:lvl5pPr marL="1828343" indent="0">
              <a:buNone/>
              <a:defRPr sz="1000"/>
            </a:lvl5pPr>
            <a:lvl6pPr marL="2285429" indent="0">
              <a:buNone/>
              <a:defRPr sz="1000"/>
            </a:lvl6pPr>
            <a:lvl7pPr marL="2742514" indent="0">
              <a:buNone/>
              <a:defRPr sz="1000"/>
            </a:lvl7pPr>
            <a:lvl8pPr marL="3199600" indent="0">
              <a:buNone/>
              <a:defRPr sz="1000"/>
            </a:lvl8pPr>
            <a:lvl9pPr marL="3656686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9DC89A-366C-415C-891E-280AE97B260F}" type="datetimeFigureOut">
              <a:rPr lang="nb-NO" smtClean="0"/>
              <a:t>26.01.2021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4F76A4-148D-462D-BFA3-FCDD7FFDE10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764225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199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199"/>
            </a:lvl1pPr>
            <a:lvl2pPr marL="457086" indent="0">
              <a:buNone/>
              <a:defRPr sz="2800"/>
            </a:lvl2pPr>
            <a:lvl3pPr marL="914172" indent="0">
              <a:buNone/>
              <a:defRPr sz="2400"/>
            </a:lvl3pPr>
            <a:lvl4pPr marL="1371257" indent="0">
              <a:buNone/>
              <a:defRPr sz="2000"/>
            </a:lvl4pPr>
            <a:lvl5pPr marL="1828343" indent="0">
              <a:buNone/>
              <a:defRPr sz="2000"/>
            </a:lvl5pPr>
            <a:lvl6pPr marL="2285429" indent="0">
              <a:buNone/>
              <a:defRPr sz="2000"/>
            </a:lvl6pPr>
            <a:lvl7pPr marL="2742514" indent="0">
              <a:buNone/>
              <a:defRPr sz="2000"/>
            </a:lvl7pPr>
            <a:lvl8pPr marL="3199600" indent="0">
              <a:buNone/>
              <a:defRPr sz="2000"/>
            </a:lvl8pPr>
            <a:lvl9pPr marL="3656686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86" indent="0">
              <a:buNone/>
              <a:defRPr sz="1400"/>
            </a:lvl2pPr>
            <a:lvl3pPr marL="914172" indent="0">
              <a:buNone/>
              <a:defRPr sz="1200"/>
            </a:lvl3pPr>
            <a:lvl4pPr marL="1371257" indent="0">
              <a:buNone/>
              <a:defRPr sz="1000"/>
            </a:lvl4pPr>
            <a:lvl5pPr marL="1828343" indent="0">
              <a:buNone/>
              <a:defRPr sz="1000"/>
            </a:lvl5pPr>
            <a:lvl6pPr marL="2285429" indent="0">
              <a:buNone/>
              <a:defRPr sz="1000"/>
            </a:lvl6pPr>
            <a:lvl7pPr marL="2742514" indent="0">
              <a:buNone/>
              <a:defRPr sz="1000"/>
            </a:lvl7pPr>
            <a:lvl8pPr marL="3199600" indent="0">
              <a:buNone/>
              <a:defRPr sz="1000"/>
            </a:lvl8pPr>
            <a:lvl9pPr marL="3656686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9DC89A-366C-415C-891E-280AE97B260F}" type="datetimeFigureOut">
              <a:rPr lang="nb-NO" smtClean="0"/>
              <a:t>26.01.2021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4F76A4-148D-462D-BFA3-FCDD7FFDE10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485996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17.xml"/><Relationship Id="rId21" Type="http://schemas.openxmlformats.org/officeDocument/2006/relationships/tags" Target="../tags/tag5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tags" Target="../tags/tag4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image" Target="../media/image4.emf"/><Relationship Id="rId10" Type="http://schemas.openxmlformats.org/officeDocument/2006/relationships/slideLayout" Target="../slideLayouts/slideLayout24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35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image" Target="../media/image4.emf"/><Relationship Id="rId10" Type="http://schemas.openxmlformats.org/officeDocument/2006/relationships/slideLayout" Target="../slideLayouts/slideLayout42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53.xml"/><Relationship Id="rId21" Type="http://schemas.openxmlformats.org/officeDocument/2006/relationships/oleObject" Target="../embeddings/oleObject4.bin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tags" Target="../tags/tag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60.xml"/><Relationship Id="rId19" Type="http://schemas.openxmlformats.org/officeDocument/2006/relationships/tags" Target="../tags/tag8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image" Target="../media/image5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224618BE-4120-3948-981B-DBD15DF8F7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784047449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7772400" imgH="10058400" progId="TCLayout.ActiveDocument.1">
                  <p:embed/>
                </p:oleObj>
              </mc:Choice>
              <mc:Fallback>
                <p:oleObj name="think-cell Slide" r:id="rId18" imgW="7772400" imgH="1005840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224618BE-4120-3948-981B-DBD15DF8F7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 hidden="1">
            <a:extLst>
              <a:ext uri="{FF2B5EF4-FFF2-40B4-BE49-F238E27FC236}">
                <a16:creationId xmlns:a16="http://schemas.microsoft.com/office/drawing/2014/main" id="{5F4C334F-3BE9-5E46-9DCD-966D2AFE0633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79396" cy="793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4399" b="0" i="0" baseline="0">
              <a:latin typeface="Calibri Light" panose="020F0302020204030204" pitchFamily="34" charset="0"/>
              <a:ea typeface="+mj-ea"/>
              <a:sym typeface="Calibri Light" panose="020F030202020403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838201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59DC89A-366C-415C-891E-280AE97B260F}" type="datetimeFigureOut">
              <a:rPr lang="nb-NO" smtClean="0"/>
              <a:t>26.01.2021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038601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4F76A4-148D-462D-BFA3-FCDD7FFDE10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36148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txStyles>
    <p:titleStyle>
      <a:lvl1pPr algn="l" defTabSz="914172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43" indent="-228543" algn="l" defTabSz="91417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629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15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00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886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972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57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43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6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2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7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3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9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4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6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4E8D6F7F-85C3-444F-AF8D-8DD106E055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7772400" imgH="10058400" progId="TCLayout.ActiveDocument.1">
                  <p:embed/>
                </p:oleObj>
              </mc:Choice>
              <mc:Fallback>
                <p:oleObj name="think-cell Slide" r:id="rId22" imgW="7772400" imgH="1005840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4E8D6F7F-85C3-444F-AF8D-8DD106E055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 hidden="1">
            <a:extLst>
              <a:ext uri="{FF2B5EF4-FFF2-40B4-BE49-F238E27FC236}">
                <a16:creationId xmlns:a16="http://schemas.microsoft.com/office/drawing/2014/main" id="{D3AFE740-7FAE-4748-BF6C-CDCF36266211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4999" b="0" i="0" baseline="0">
              <a:latin typeface="Tw Cen MT Condensed" panose="020B0606020104020203" pitchFamily="34" charset="77"/>
              <a:ea typeface="+mj-ea"/>
              <a:sym typeface="Tw Cen MT Condensed" panose="020B0606020104020203" pitchFamily="34" charset="77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9" y="2286000"/>
            <a:ext cx="9720073" cy="4023360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24130" y="6470704"/>
            <a:ext cx="2154143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C764DE79-268F-4C1A-8933-263129D2AF90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42933" y="6470704"/>
            <a:ext cx="5901459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cap="all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37334" y="6470704"/>
            <a:ext cx="973667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762000" y="826324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6">
            <a:extLst>
              <a:ext uri="{FF2B5EF4-FFF2-40B4-BE49-F238E27FC236}">
                <a16:creationId xmlns:a16="http://schemas.microsoft.com/office/drawing/2014/main" id="{C4166883-A3B5-C547-9C6B-0E2C83F37EE1}"/>
              </a:ext>
            </a:extLst>
          </p:cNvPr>
          <p:cNvSpPr txBox="1"/>
          <p:nvPr userDrawn="1"/>
        </p:nvSpPr>
        <p:spPr>
          <a:xfrm>
            <a:off x="11750218" y="305271"/>
            <a:ext cx="462518" cy="246203"/>
          </a:xfrm>
          <a:prstGeom prst="rect">
            <a:avLst/>
          </a:prstGeom>
          <a:noFill/>
        </p:spPr>
        <p:txBody>
          <a:bodyPr wrap="square" lIns="91422" tIns="45711" rIns="91422" bIns="45711" rtlCol="0">
            <a:spAutoFit/>
          </a:bodyPr>
          <a:lstStyle/>
          <a:p>
            <a:pPr algn="ctr"/>
            <a:fld id="{260E2A6B-A809-4840-BF14-8648BC0BDF87}" type="slidenum">
              <a:rPr lang="id-ID" sz="1000" b="0" i="0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Montserrat" charset="0"/>
              </a:rPr>
              <a:pPr algn="ctr"/>
              <a:t>‹#›</a:t>
            </a:fld>
            <a:r>
              <a:rPr lang="id-ID" sz="1000" b="1" i="0">
                <a:solidFill>
                  <a:schemeClr val="bg1"/>
                </a:solidFill>
                <a:latin typeface="Montserrat" charset="0"/>
                <a:ea typeface="Montserrat" charset="0"/>
                <a:cs typeface="Montserrat" charset="0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8971657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</p:sldLayoutIdLst>
  <p:hf hdr="0" ftr="0" dt="0"/>
  <p:txStyles>
    <p:titleStyle>
      <a:lvl1pPr algn="l" defTabSz="914172" rtl="0" eaLnBrk="1" latinLnBrk="0" hangingPunct="1">
        <a:lnSpc>
          <a:spcPct val="80000"/>
        </a:lnSpc>
        <a:spcBef>
          <a:spcPct val="0"/>
        </a:spcBef>
        <a:buNone/>
        <a:defRPr sz="4999" kern="1200" cap="all" spc="100" baseline="0">
          <a:solidFill>
            <a:schemeClr val="tx1">
              <a:lumMod val="95000"/>
              <a:lumOff val="5000"/>
            </a:schemeClr>
          </a:solidFill>
          <a:latin typeface="+mj-lt"/>
          <a:ea typeface="+mj-ea"/>
          <a:cs typeface="+mj-cs"/>
        </a:defRPr>
      </a:lvl1pPr>
    </p:titleStyle>
    <p:bodyStyle>
      <a:lvl1pPr marL="91417" indent="-91417" algn="l" defTabSz="914172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Tw Cen MT" panose="020B0602020104020603" pitchFamily="34" charset="0"/>
        <a:buChar char=" 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265110" indent="-137126" algn="l" defTabSz="914172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47944" indent="-137126" algn="l" defTabSz="914172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94212" indent="-137126" algn="l" defTabSz="914172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77046" indent="-137126" algn="l" defTabSz="914172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914172" indent="-137126" algn="l" defTabSz="914172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60439" indent="-137126" algn="l" defTabSz="914172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15848" indent="-137126" algn="l" defTabSz="914172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362116" indent="-137126" algn="l" defTabSz="914172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6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2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7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3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9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4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6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4E8D6F7F-85C3-444F-AF8D-8DD106E055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10016395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7772400" imgH="10058400" progId="TCLayout.ActiveDocument.1">
                  <p:embed/>
                </p:oleObj>
              </mc:Choice>
              <mc:Fallback>
                <p:oleObj name="think-cell Slide" r:id="rId22" imgW="7772400" imgH="1005840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4E8D6F7F-85C3-444F-AF8D-8DD106E055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 hidden="1">
            <a:extLst>
              <a:ext uri="{FF2B5EF4-FFF2-40B4-BE49-F238E27FC236}">
                <a16:creationId xmlns:a16="http://schemas.microsoft.com/office/drawing/2014/main" id="{D3AFE740-7FAE-4748-BF6C-CDCF36266211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4998" b="0" i="0" baseline="0">
              <a:latin typeface="Tw Cen MT Condensed" panose="020B0606020104020203" pitchFamily="34" charset="77"/>
              <a:ea typeface="+mj-ea"/>
              <a:sym typeface="Tw Cen MT Condensed" panose="020B0606020104020203" pitchFamily="34" charset="77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30" y="2286000"/>
            <a:ext cx="9720073" cy="4023360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24131" y="6470704"/>
            <a:ext cx="2154143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C764DE79-268F-4C1A-8933-263129D2AF90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42934" y="6470704"/>
            <a:ext cx="5901459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cap="all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37335" y="6470704"/>
            <a:ext cx="973667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762000" y="826324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6">
            <a:extLst>
              <a:ext uri="{FF2B5EF4-FFF2-40B4-BE49-F238E27FC236}">
                <a16:creationId xmlns:a16="http://schemas.microsoft.com/office/drawing/2014/main" id="{C4166883-A3B5-C547-9C6B-0E2C83F37EE1}"/>
              </a:ext>
            </a:extLst>
          </p:cNvPr>
          <p:cNvSpPr txBox="1"/>
          <p:nvPr userDrawn="1"/>
        </p:nvSpPr>
        <p:spPr>
          <a:xfrm>
            <a:off x="11750218" y="305271"/>
            <a:ext cx="462518" cy="246179"/>
          </a:xfrm>
          <a:prstGeom prst="rect">
            <a:avLst/>
          </a:prstGeom>
          <a:noFill/>
        </p:spPr>
        <p:txBody>
          <a:bodyPr wrap="square" lIns="91398" tIns="45699" rIns="91398" bIns="45699" rtlCol="0">
            <a:spAutoFit/>
          </a:bodyPr>
          <a:lstStyle/>
          <a:p>
            <a:pPr algn="ctr"/>
            <a:fld id="{260E2A6B-A809-4840-BF14-8648BC0BDF87}" type="slidenum">
              <a:rPr lang="id-ID" sz="1000" b="0" i="0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Montserrat" charset="0"/>
              </a:rPr>
              <a:pPr algn="ctr"/>
              <a:t>‹#›</a:t>
            </a:fld>
            <a:r>
              <a:rPr lang="id-ID" sz="1000" b="1" i="0">
                <a:solidFill>
                  <a:schemeClr val="bg1"/>
                </a:solidFill>
                <a:latin typeface="Montserrat" charset="0"/>
                <a:ea typeface="Montserrat" charset="0"/>
                <a:cs typeface="Montserrat" charset="0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892400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09" r:id="rId15"/>
    <p:sldLayoutId id="2147483710" r:id="rId16"/>
    <p:sldLayoutId id="2147483711" r:id="rId17"/>
    <p:sldLayoutId id="2147483712" r:id="rId18"/>
  </p:sldLayoutIdLst>
  <p:hf hdr="0" ftr="0" dt="0"/>
  <p:txStyles>
    <p:titleStyle>
      <a:lvl1pPr algn="l" defTabSz="913944" rtl="0" eaLnBrk="1" latinLnBrk="0" hangingPunct="1">
        <a:lnSpc>
          <a:spcPct val="80000"/>
        </a:lnSpc>
        <a:spcBef>
          <a:spcPct val="0"/>
        </a:spcBef>
        <a:buNone/>
        <a:defRPr sz="4998" kern="1200" cap="all" spc="100" baseline="0">
          <a:solidFill>
            <a:schemeClr val="tx1">
              <a:lumMod val="95000"/>
              <a:lumOff val="5000"/>
            </a:schemeClr>
          </a:solidFill>
          <a:latin typeface="+mj-lt"/>
          <a:ea typeface="+mj-ea"/>
          <a:cs typeface="+mj-cs"/>
        </a:defRPr>
      </a:lvl1pPr>
    </p:titleStyle>
    <p:bodyStyle>
      <a:lvl1pPr marL="91394" indent="-91394" algn="l" defTabSz="913944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Tw Cen MT" panose="020B0602020104020603" pitchFamily="34" charset="0"/>
        <a:buChar char=" 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265044" indent="-137092" algn="l" defTabSz="91394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47832" indent="-137092" algn="l" defTabSz="91394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94064" indent="-137092" algn="l" defTabSz="91394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76852" indent="-137092" algn="l" defTabSz="91394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913944" indent="-137092" algn="l" defTabSz="91394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60174" indent="-137092" algn="l" defTabSz="91394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15544" indent="-137092" algn="l" defTabSz="91394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361776" indent="-137092" algn="l" defTabSz="913944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72" algn="l" defTabSz="9139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44" algn="l" defTabSz="9139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8" algn="l" defTabSz="9139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9" algn="l" defTabSz="9139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2" algn="l" defTabSz="9139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DD046E0C-E67E-694B-82C3-DC5716CC4B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7772400" imgH="10058400" progId="TCLayout.ActiveDocument.1">
                  <p:embed/>
                </p:oleObj>
              </mc:Choice>
              <mc:Fallback>
                <p:oleObj name="think-cell Slide" r:id="rId21" imgW="7772400" imgH="10058400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DD046E0C-E67E-694B-82C3-DC5716CC4B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ktangel 10" hidden="1">
            <a:extLst>
              <a:ext uri="{FF2B5EF4-FFF2-40B4-BE49-F238E27FC236}">
                <a16:creationId xmlns:a16="http://schemas.microsoft.com/office/drawing/2014/main" id="{AAD977DE-C4FC-3040-BE84-BC218A990363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79396" cy="793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4999" b="0" i="0" baseline="0">
              <a:latin typeface="Tw Cen MT Condensed" panose="020B0606020104020203" pitchFamily="34" charset="77"/>
              <a:ea typeface="+mj-ea"/>
              <a:sym typeface="Tw Cen MT Condensed" panose="020B0606020104020203" pitchFamily="34" charset="77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9" y="2286000"/>
            <a:ext cx="9720073" cy="4023360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24130" y="6470704"/>
            <a:ext cx="2154143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C764DE79-268F-4C1A-8933-263129D2AF90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42933" y="6470704"/>
            <a:ext cx="5901459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cap="all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37334" y="6470704"/>
            <a:ext cx="973667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762000" y="826324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6">
            <a:extLst>
              <a:ext uri="{FF2B5EF4-FFF2-40B4-BE49-F238E27FC236}">
                <a16:creationId xmlns:a16="http://schemas.microsoft.com/office/drawing/2014/main" id="{C4166883-A3B5-C547-9C6B-0E2C83F37EE1}"/>
              </a:ext>
            </a:extLst>
          </p:cNvPr>
          <p:cNvSpPr txBox="1"/>
          <p:nvPr userDrawn="1"/>
        </p:nvSpPr>
        <p:spPr>
          <a:xfrm>
            <a:off x="11750218" y="305271"/>
            <a:ext cx="462518" cy="246203"/>
          </a:xfrm>
          <a:prstGeom prst="rect">
            <a:avLst/>
          </a:prstGeom>
          <a:noFill/>
        </p:spPr>
        <p:txBody>
          <a:bodyPr wrap="square" lIns="91422" tIns="45711" rIns="91422" bIns="45711" rtlCol="0">
            <a:spAutoFit/>
          </a:bodyPr>
          <a:lstStyle/>
          <a:p>
            <a:pPr algn="ctr"/>
            <a:fld id="{260E2A6B-A809-4840-BF14-8648BC0BDF87}" type="slidenum">
              <a:rPr lang="id-ID" sz="1000" b="0" i="0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Montserrat" charset="0"/>
              </a:rPr>
              <a:pPr algn="ctr"/>
              <a:t>‹#›</a:t>
            </a:fld>
            <a:r>
              <a:rPr lang="id-ID" sz="1000" b="1" i="0">
                <a:solidFill>
                  <a:schemeClr val="bg1"/>
                </a:solidFill>
                <a:latin typeface="Montserrat" charset="0"/>
                <a:ea typeface="Montserrat" charset="0"/>
                <a:cs typeface="Montserrat" charset="0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757473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26" r:id="rId13"/>
    <p:sldLayoutId id="2147483727" r:id="rId14"/>
    <p:sldLayoutId id="2147483728" r:id="rId15"/>
    <p:sldLayoutId id="2147483729" r:id="rId16"/>
    <p:sldLayoutId id="2147483730" r:id="rId17"/>
  </p:sldLayoutIdLst>
  <p:hf hdr="0" ftr="0" dt="0"/>
  <p:txStyles>
    <p:titleStyle>
      <a:lvl1pPr algn="l" defTabSz="914172" rtl="0" eaLnBrk="1" latinLnBrk="0" hangingPunct="1">
        <a:lnSpc>
          <a:spcPct val="80000"/>
        </a:lnSpc>
        <a:spcBef>
          <a:spcPct val="0"/>
        </a:spcBef>
        <a:buNone/>
        <a:defRPr sz="4999" kern="1200" cap="all" spc="100" baseline="0">
          <a:solidFill>
            <a:schemeClr val="tx1">
              <a:lumMod val="95000"/>
              <a:lumOff val="5000"/>
            </a:schemeClr>
          </a:solidFill>
          <a:latin typeface="+mj-lt"/>
          <a:ea typeface="+mj-ea"/>
          <a:cs typeface="+mj-cs"/>
        </a:defRPr>
      </a:lvl1pPr>
    </p:titleStyle>
    <p:bodyStyle>
      <a:lvl1pPr marL="91417" indent="-91417" algn="l" defTabSz="914172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Tw Cen MT" panose="020B0602020104020603" pitchFamily="34" charset="0"/>
        <a:buChar char=" 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265110" indent="-137126" algn="l" defTabSz="914172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47944" indent="-137126" algn="l" defTabSz="914172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94212" indent="-137126" algn="l" defTabSz="914172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77046" indent="-137126" algn="l" defTabSz="914172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914172" indent="-137126" algn="l" defTabSz="914172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60439" indent="-137126" algn="l" defTabSz="914172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15848" indent="-137126" algn="l" defTabSz="914172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362116" indent="-137126" algn="l" defTabSz="914172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6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2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7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3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9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4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6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2.xml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10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4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4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15.jpeg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11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19.emf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kstSylinder 3"/>
          <p:cNvSpPr txBox="1"/>
          <p:nvPr/>
        </p:nvSpPr>
        <p:spPr>
          <a:xfrm>
            <a:off x="5436085" y="4195577"/>
            <a:ext cx="5330752" cy="166199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2000" b="1" spc="300" dirty="0">
                <a:solidFill>
                  <a:srgbClr val="3C4865"/>
                </a:solidFill>
                <a:latin typeface="Montserrat" charset="0"/>
              </a:rPr>
              <a:t>FM-ANSKAFFELSE – DIALOGKONFERANSE</a:t>
            </a:r>
          </a:p>
          <a:p>
            <a:pPr marL="0" marR="0" lvl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400" b="1" spc="300" dirty="0">
              <a:solidFill>
                <a:srgbClr val="3C4865"/>
              </a:solidFill>
              <a:latin typeface="Montserrat" charset="0"/>
            </a:endParaRPr>
          </a:p>
          <a:p>
            <a:pPr marL="0" marR="0" lvl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400" b="1" spc="300" dirty="0">
                <a:solidFill>
                  <a:srgbClr val="3C4865"/>
                </a:solidFill>
                <a:latin typeface="Montserrat" charset="0"/>
              </a:rPr>
              <a:t>28.01.2021</a:t>
            </a:r>
          </a:p>
          <a:p>
            <a:pPr marL="0" marR="0" lvl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400" b="1" spc="300" dirty="0">
              <a:solidFill>
                <a:srgbClr val="3C4865"/>
              </a:solidFill>
              <a:latin typeface="Montserrat" charset="0"/>
            </a:endParaRPr>
          </a:p>
          <a:p>
            <a:pPr marL="0" marR="0" lvl="0" indent="0" algn="ctr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2000" b="1" spc="300" dirty="0">
                <a:solidFill>
                  <a:srgbClr val="3C4865"/>
                </a:solidFill>
                <a:latin typeface="Montserrat" charset="0"/>
              </a:rPr>
              <a:t>T O M A G R U P </a:t>
            </a:r>
            <a:r>
              <a:rPr lang="nb-NO" sz="2000" b="1" spc="300" dirty="0" err="1">
                <a:solidFill>
                  <a:srgbClr val="3C4865"/>
                </a:solidFill>
                <a:latin typeface="Montserrat" charset="0"/>
              </a:rPr>
              <a:t>P</a:t>
            </a:r>
            <a:r>
              <a:rPr lang="nb-NO" sz="2000" b="1" spc="300" dirty="0">
                <a:solidFill>
                  <a:srgbClr val="3C4865"/>
                </a:solidFill>
                <a:latin typeface="Montserrat" charset="0"/>
              </a:rPr>
              <a:t> E N </a:t>
            </a:r>
          </a:p>
        </p:txBody>
      </p:sp>
      <p:cxnSp>
        <p:nvCxnSpPr>
          <p:cNvPr id="8" name="Rett linje 7"/>
          <p:cNvCxnSpPr/>
          <p:nvPr/>
        </p:nvCxnSpPr>
        <p:spPr>
          <a:xfrm>
            <a:off x="5049671" y="4195577"/>
            <a:ext cx="0" cy="1338634"/>
          </a:xfrm>
          <a:prstGeom prst="line">
            <a:avLst/>
          </a:prstGeom>
          <a:ln>
            <a:solidFill>
              <a:srgbClr val="4E50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Bilde 9">
            <a:extLst>
              <a:ext uri="{FF2B5EF4-FFF2-40B4-BE49-F238E27FC236}">
                <a16:creationId xmlns:a16="http://schemas.microsoft.com/office/drawing/2014/main" id="{658954D0-1821-4EC0-92F4-A8D283A648F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2215" y="4616983"/>
            <a:ext cx="1296821" cy="665188"/>
          </a:xfrm>
          <a:prstGeom prst="rect">
            <a:avLst/>
          </a:prstGeom>
        </p:spPr>
      </p:pic>
      <p:pic>
        <p:nvPicPr>
          <p:cNvPr id="2" name="Bilde 1">
            <a:extLst>
              <a:ext uri="{FF2B5EF4-FFF2-40B4-BE49-F238E27FC236}">
                <a16:creationId xmlns:a16="http://schemas.microsoft.com/office/drawing/2014/main" id="{C87B340A-3BA5-475B-8015-55B97BB3C1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717833"/>
            <a:ext cx="12192000" cy="217825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288669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TextBox 90">
            <a:extLst>
              <a:ext uri="{FF2B5EF4-FFF2-40B4-BE49-F238E27FC236}">
                <a16:creationId xmlns:a16="http://schemas.microsoft.com/office/drawing/2014/main" id="{74246E2C-7BE1-0149-870E-7C9B5CAD9F10}"/>
              </a:ext>
            </a:extLst>
          </p:cNvPr>
          <p:cNvSpPr txBox="1"/>
          <p:nvPr/>
        </p:nvSpPr>
        <p:spPr>
          <a:xfrm>
            <a:off x="948004" y="2026087"/>
            <a:ext cx="4513229" cy="2896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228543" rtl="0" eaLnBrk="1" fontAlgn="auto" latinLnBrk="0" hangingPunct="1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nb-NO" sz="1400" b="1" dirty="0">
                <a:solidFill>
                  <a:srgbClr val="335B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rdeler NS-INSTA 800</a:t>
            </a:r>
          </a:p>
          <a:p>
            <a:pPr marL="285750" marR="0" lvl="0" indent="-285750" algn="l" defTabSz="228543" rtl="0" eaLnBrk="1" fontAlgn="auto" latinLnBrk="0" hangingPunct="1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400" dirty="0">
                <a:latin typeface="Calibri" panose="020F0502020204030204" pitchFamily="34" charset="0"/>
                <a:cs typeface="Calibri" panose="020F0502020204030204" pitchFamily="34" charset="0"/>
              </a:rPr>
              <a:t>Rom rengjøres etter behov, renholder ser over rommet etter avtalt frekvens og rengjør i henhold til avtalt kvalitet</a:t>
            </a:r>
          </a:p>
          <a:p>
            <a:pPr marL="285750" marR="0" lvl="0" indent="-285750" algn="l" defTabSz="228543" rtl="0" eaLnBrk="1" fontAlgn="auto" latinLnBrk="0" hangingPunct="1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400" dirty="0">
                <a:latin typeface="Calibri" panose="020F0502020204030204" pitchFamily="34" charset="0"/>
                <a:cs typeface="Calibri" panose="020F0502020204030204" pitchFamily="34" charset="0"/>
              </a:rPr>
              <a:t>Om rom ikke har vært i bruk, bruker renholder tiden på andre oppgaver som skillevindu, polering etc.</a:t>
            </a:r>
          </a:p>
          <a:p>
            <a:pPr marL="285750" marR="0" lvl="0" indent="-285750" algn="l" defTabSz="228543" rtl="0" eaLnBrk="1" fontAlgn="auto" latinLnBrk="0" hangingPunct="1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400" dirty="0">
                <a:latin typeface="Calibri" panose="020F0502020204030204" pitchFamily="34" charset="0"/>
                <a:cs typeface="Calibri" panose="020F0502020204030204" pitchFamily="34" charset="0"/>
              </a:rPr>
              <a:t>Renholder rengjør overflater etter behov opp til avtalt høyde (oftest er denne 3 meter), dette medfører at Oppdragsgiver må betale ekstra for nedvask etc. </a:t>
            </a:r>
          </a:p>
          <a:p>
            <a:pPr marL="285750" marR="0" lvl="0" indent="-285750" algn="l" defTabSz="228543" rtl="0" eaLnBrk="1" fontAlgn="auto" latinLnBrk="0" hangingPunct="1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400" dirty="0">
                <a:latin typeface="Calibri" panose="020F0502020204030204" pitchFamily="34" charset="0"/>
                <a:cs typeface="Calibri" panose="020F0502020204030204" pitchFamily="34" charset="0"/>
              </a:rPr>
              <a:t>NS-INSTA 800 gir mer jevn kvalitet</a:t>
            </a:r>
          </a:p>
          <a:p>
            <a:pPr marR="0" lvl="0" algn="l" defTabSz="228543" rtl="0" eaLnBrk="1" fontAlgn="auto" latinLnBrk="0" hangingPunct="1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nb-NO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extBox 19">
            <a:extLst>
              <a:ext uri="{FF2B5EF4-FFF2-40B4-BE49-F238E27FC236}">
                <a16:creationId xmlns:a16="http://schemas.microsoft.com/office/drawing/2014/main" id="{24666320-25CF-D845-9263-B4DA1B3F79F3}"/>
              </a:ext>
            </a:extLst>
          </p:cNvPr>
          <p:cNvSpPr txBox="1"/>
          <p:nvPr/>
        </p:nvSpPr>
        <p:spPr>
          <a:xfrm>
            <a:off x="948004" y="847289"/>
            <a:ext cx="11148922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indent="0" fontAlgn="auto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b="1" dirty="0">
                <a:solidFill>
                  <a:srgbClr val="335B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. Hva ser leverandøren som fordel og ulempe med NS-INSTA 800 sammenlignet med</a:t>
            </a:r>
          </a:p>
          <a:p>
            <a:pPr marR="0" lvl="0" indent="0" fontAlgn="auto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b="1" dirty="0">
                <a:solidFill>
                  <a:srgbClr val="335B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 frekvensbasert renholds modell?</a:t>
            </a:r>
          </a:p>
        </p:txBody>
      </p:sp>
      <p:sp>
        <p:nvSpPr>
          <p:cNvPr id="4" name="TextBox 90">
            <a:extLst>
              <a:ext uri="{FF2B5EF4-FFF2-40B4-BE49-F238E27FC236}">
                <a16:creationId xmlns:a16="http://schemas.microsoft.com/office/drawing/2014/main" id="{0801F041-9220-4B46-89D0-C4C6FA6C4428}"/>
              </a:ext>
            </a:extLst>
          </p:cNvPr>
          <p:cNvSpPr txBox="1"/>
          <p:nvPr/>
        </p:nvSpPr>
        <p:spPr>
          <a:xfrm>
            <a:off x="5756294" y="2026087"/>
            <a:ext cx="4513229" cy="11015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28543">
              <a:lnSpc>
                <a:spcPts val="2040"/>
              </a:lnSpc>
              <a:defRPr/>
            </a:pPr>
            <a:r>
              <a:rPr lang="nb-NO" sz="1400" b="1" dirty="0">
                <a:solidFill>
                  <a:srgbClr val="335B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lemper NS-INSTA 800</a:t>
            </a:r>
          </a:p>
          <a:p>
            <a:pPr marL="285750" marR="0" lvl="0" indent="-285750" algn="l" defTabSz="228543" rtl="0" eaLnBrk="1" fontAlgn="auto" latinLnBrk="0" hangingPunct="1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400" dirty="0">
                <a:latin typeface="Calibri" panose="020F0502020204030204" pitchFamily="34" charset="0"/>
                <a:cs typeface="Calibri" panose="020F0502020204030204" pitchFamily="34" charset="0"/>
              </a:rPr>
              <a:t>Krever mer forarbeid for å definere kvalitetsstandard på de ulike rom og objekter</a:t>
            </a:r>
          </a:p>
          <a:p>
            <a:pPr marL="285750" marR="0" lvl="0" indent="-285750" algn="l" defTabSz="228543" rtl="0" eaLnBrk="1" fontAlgn="auto" latinLnBrk="0" hangingPunct="1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400" dirty="0">
                <a:latin typeface="Calibri" panose="020F0502020204030204" pitchFamily="34" charset="0"/>
                <a:cs typeface="Calibri" panose="020F0502020204030204" pitchFamily="34" charset="0"/>
              </a:rPr>
              <a:t> Mer omfattende kvalitetskontrollregime.</a:t>
            </a:r>
          </a:p>
        </p:txBody>
      </p:sp>
    </p:spTree>
    <p:extLst>
      <p:ext uri="{BB962C8B-B14F-4D97-AF65-F5344CB8AC3E}">
        <p14:creationId xmlns:p14="http://schemas.microsoft.com/office/powerpoint/2010/main" val="19116626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Rectangle 108">
            <a:extLst>
              <a:ext uri="{FF2B5EF4-FFF2-40B4-BE49-F238E27FC236}">
                <a16:creationId xmlns:a16="http://schemas.microsoft.com/office/drawing/2014/main" id="{8CD2B798-7994-4548-A2BE-4AEF9C1A5F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88" y="0"/>
            <a:ext cx="12188825" cy="457200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111" name="Oval 5">
            <a:extLst>
              <a:ext uri="{FF2B5EF4-FFF2-40B4-BE49-F238E27FC236}">
                <a16:creationId xmlns:a16="http://schemas.microsoft.com/office/drawing/2014/main" id="{E6162320-3B67-42BB-AF9D-939326E648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87" y="0"/>
            <a:ext cx="12188825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6722E143-84C1-4F95-937C-78B92D2811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V="1">
            <a:off x="8386246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15" name="Rectangle 114">
            <a:extLst>
              <a:ext uri="{FF2B5EF4-FFF2-40B4-BE49-F238E27FC236}">
                <a16:creationId xmlns:a16="http://schemas.microsoft.com/office/drawing/2014/main" id="{B8D726A5-7900-41B4-8D49-49B4A2010E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88" y="0"/>
            <a:ext cx="1218882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2C63FFE9-7A35-4555-97A8-334420539D8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6" y="-1"/>
            <a:ext cx="12188827" cy="8125885"/>
          </a:xfrm>
          <a:prstGeom prst="rect">
            <a:avLst/>
          </a:prstGeom>
        </p:spPr>
      </p:pic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46E49661-E258-450C-8150-A91A6B30D1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139073" y="1828800"/>
            <a:ext cx="0" cy="32004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ktangel 10">
            <a:extLst>
              <a:ext uri="{FF2B5EF4-FFF2-40B4-BE49-F238E27FC236}">
                <a16:creationId xmlns:a16="http://schemas.microsoft.com/office/drawing/2014/main" id="{940C199C-D6AE-4629-B4FA-8F7E09C06B03}"/>
              </a:ext>
            </a:extLst>
          </p:cNvPr>
          <p:cNvSpPr/>
          <p:nvPr/>
        </p:nvSpPr>
        <p:spPr>
          <a:xfrm>
            <a:off x="1588" y="-2"/>
            <a:ext cx="12188825" cy="8125884"/>
          </a:xfrm>
          <a:prstGeom prst="rect">
            <a:avLst/>
          </a:prstGeom>
          <a:solidFill>
            <a:schemeClr val="tx2">
              <a:lumMod val="75000"/>
              <a:alpha val="61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EF746C62-07A8-41CD-8E79-C0944C7EED55}"/>
              </a:ext>
            </a:extLst>
          </p:cNvPr>
          <p:cNvSpPr/>
          <p:nvPr/>
        </p:nvSpPr>
        <p:spPr>
          <a:xfrm>
            <a:off x="-1" y="0"/>
            <a:ext cx="4582079" cy="8125884"/>
          </a:xfrm>
          <a:prstGeom prst="rect">
            <a:avLst/>
          </a:prstGeom>
          <a:solidFill>
            <a:schemeClr val="bg2">
              <a:lumMod val="40000"/>
              <a:lumOff val="60000"/>
              <a:alpha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45720" tIns="22860" rIns="45720" bIns="228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Lato Light" panose="020F0502020204030203"/>
                <a:ea typeface="+mn-ea"/>
                <a:cs typeface="+mn-cs"/>
              </a:rPr>
              <a:t>Kontakt</a:t>
            </a:r>
            <a:r>
              <a:rPr kumimoji="0" lang="nb-NO" sz="14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Lato Light" panose="020F0502020204030203"/>
                <a:ea typeface="+mn-ea"/>
                <a:cs typeface="+mn-cs"/>
              </a:rPr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Lato Light" panose="020F0502020204030203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Lato Light" panose="020F0502020204030203"/>
                <a:ea typeface="+mn-ea"/>
                <a:cs typeface="+mn-cs"/>
              </a:rPr>
              <a:t>Markus Horn Elieson | Salgssjef</a:t>
            </a:r>
          </a:p>
          <a:p>
            <a:pPr marL="0" marR="0" lvl="0" indent="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Lato Light" panose="020F0502020204030203"/>
                <a:ea typeface="+mn-ea"/>
                <a:cs typeface="+mn-cs"/>
              </a:rPr>
              <a:t>Mail:</a:t>
            </a:r>
            <a:r>
              <a:rPr kumimoji="0" lang="nb-NO" sz="12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Lato Light" panose="020F0502020204030203"/>
                <a:ea typeface="+mn-ea"/>
                <a:cs typeface="+mn-cs"/>
              </a:rPr>
              <a:t> mhe@toma.no</a:t>
            </a:r>
          </a:p>
          <a:p>
            <a:pPr marL="0" marR="0" lvl="0" indent="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Lato Light" panose="020F0502020204030203"/>
                <a:ea typeface="+mn-ea"/>
                <a:cs typeface="+mn-cs"/>
              </a:rPr>
              <a:t>Telefon:</a:t>
            </a:r>
            <a:r>
              <a:rPr kumimoji="0" lang="nb-NO" sz="12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Lato Light" panose="020F0502020204030203"/>
                <a:ea typeface="+mn-ea"/>
                <a:cs typeface="+mn-cs"/>
              </a:rPr>
              <a:t> 958 40 447</a:t>
            </a:r>
          </a:p>
          <a:p>
            <a:pPr marL="0" marR="0" lvl="0" indent="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Lato Light" panose="020F0502020204030203"/>
              <a:ea typeface="+mn-ea"/>
              <a:cs typeface="+mn-cs"/>
            </a:endParaRPr>
          </a:p>
        </p:txBody>
      </p:sp>
      <p:pic>
        <p:nvPicPr>
          <p:cNvPr id="13" name="Bilde 12">
            <a:extLst>
              <a:ext uri="{FF2B5EF4-FFF2-40B4-BE49-F238E27FC236}">
                <a16:creationId xmlns:a16="http://schemas.microsoft.com/office/drawing/2014/main" id="{647E06C2-CBA4-4DFA-A7A0-C06EB62B30B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0357" y="7159348"/>
            <a:ext cx="1296821" cy="665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62046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45F95E1F-1588-4449-A03B-726B3DA50588}"/>
              </a:ext>
            </a:extLst>
          </p:cNvPr>
          <p:cNvGrpSpPr/>
          <p:nvPr/>
        </p:nvGrpSpPr>
        <p:grpSpPr>
          <a:xfrm>
            <a:off x="3283732" y="565907"/>
            <a:ext cx="5639117" cy="693529"/>
            <a:chOff x="6564289" y="1407238"/>
            <a:chExt cx="11278234" cy="1387057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930B5A06-4713-CD45-8FE8-F220720D8F98}"/>
                </a:ext>
              </a:extLst>
            </p:cNvPr>
            <p:cNvSpPr txBox="1"/>
            <p:nvPr/>
          </p:nvSpPr>
          <p:spPr>
            <a:xfrm>
              <a:off x="6564289" y="1747856"/>
              <a:ext cx="11278234" cy="1046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600" normalizeH="0" baseline="0" noProof="0" err="1">
                  <a:ln>
                    <a:noFill/>
                  </a:ln>
                  <a:solidFill>
                    <a:srgbClr val="335B74"/>
                  </a:solidFill>
                  <a:effectLst/>
                  <a:uLnTx/>
                  <a:uFillTx/>
                  <a:latin typeface="Montserrat" charset="0"/>
                  <a:ea typeface="+mn-ea"/>
                  <a:cs typeface="+mn-cs"/>
                </a:rPr>
                <a:t>Våre</a:t>
              </a:r>
              <a:r>
                <a:rPr kumimoji="0" lang="en-US" sz="2800" b="1" i="0" u="none" strike="noStrike" kern="1200" cap="none" spc="600" normalizeH="0" baseline="0" noProof="0">
                  <a:ln>
                    <a:noFill/>
                  </a:ln>
                  <a:solidFill>
                    <a:srgbClr val="335B74"/>
                  </a:solidFill>
                  <a:effectLst/>
                  <a:uLnTx/>
                  <a:uFillTx/>
                  <a:latin typeface="Montserrat" charset="0"/>
                  <a:ea typeface="+mn-ea"/>
                  <a:cs typeface="+mn-cs"/>
                </a:rPr>
                <a:t> </a:t>
              </a:r>
              <a:r>
                <a:rPr kumimoji="0" lang="en-US" sz="2800" b="1" i="0" u="none" strike="noStrike" kern="1200" cap="none" spc="600" normalizeH="0" baseline="0" noProof="0" err="1">
                  <a:ln>
                    <a:noFill/>
                  </a:ln>
                  <a:solidFill>
                    <a:srgbClr val="335B74"/>
                  </a:solidFill>
                  <a:effectLst/>
                  <a:uLnTx/>
                  <a:uFillTx/>
                  <a:latin typeface="Montserrat" charset="0"/>
                  <a:ea typeface="+mn-ea"/>
                  <a:cs typeface="+mn-cs"/>
                </a:rPr>
                <a:t>tjenester</a:t>
              </a:r>
              <a:endParaRPr kumimoji="0" lang="en-US" sz="2800" b="1" i="0" u="none" strike="noStrike" kern="1200" cap="none" spc="600" normalizeH="0" baseline="0" noProof="0">
                <a:ln>
                  <a:noFill/>
                </a:ln>
                <a:solidFill>
                  <a:srgbClr val="335B74"/>
                </a:solidFill>
                <a:effectLst/>
                <a:uLnTx/>
                <a:uFillTx/>
                <a:latin typeface="Montserrat" charset="0"/>
                <a:ea typeface="+mn-ea"/>
                <a:cs typeface="+mn-cs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4EA499CA-8C9B-2346-B092-BA820C5FDE8F}"/>
                </a:ext>
              </a:extLst>
            </p:cNvPr>
            <p:cNvSpPr txBox="1"/>
            <p:nvPr/>
          </p:nvSpPr>
          <p:spPr>
            <a:xfrm>
              <a:off x="11972563" y="1407238"/>
              <a:ext cx="369462" cy="4616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6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ontserrat" charset="0"/>
                <a:cs typeface="Montserrat" charset="0"/>
              </a:endParaRPr>
            </a:p>
          </p:txBody>
        </p:sp>
      </p:grpSp>
      <p:sp>
        <p:nvSpPr>
          <p:cNvPr id="16" name="Line 1">
            <a:extLst>
              <a:ext uri="{FF2B5EF4-FFF2-40B4-BE49-F238E27FC236}">
                <a16:creationId xmlns:a16="http://schemas.microsoft.com/office/drawing/2014/main" id="{649E6C32-D926-46D8-A938-EAAAC1A692A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424327" y="2955324"/>
            <a:ext cx="2508" cy="80287"/>
          </a:xfrm>
          <a:prstGeom prst="line">
            <a:avLst/>
          </a:prstGeom>
          <a:noFill/>
          <a:ln w="9000" cap="flat">
            <a:solidFill>
              <a:srgbClr val="B9BAB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Line 2">
            <a:extLst>
              <a:ext uri="{FF2B5EF4-FFF2-40B4-BE49-F238E27FC236}">
                <a16:creationId xmlns:a16="http://schemas.microsoft.com/office/drawing/2014/main" id="{0897FC49-6622-492C-9D5A-53F1D314441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424327" y="2802278"/>
            <a:ext cx="2508" cy="80287"/>
          </a:xfrm>
          <a:prstGeom prst="line">
            <a:avLst/>
          </a:prstGeom>
          <a:noFill/>
          <a:ln w="9000" cap="flat">
            <a:solidFill>
              <a:srgbClr val="B9BAB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1" name="Line 3">
            <a:extLst>
              <a:ext uri="{FF2B5EF4-FFF2-40B4-BE49-F238E27FC236}">
                <a16:creationId xmlns:a16="http://schemas.microsoft.com/office/drawing/2014/main" id="{6D448FE4-A3D2-47BC-8E21-FFC1F873562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424327" y="2654249"/>
            <a:ext cx="2508" cy="80287"/>
          </a:xfrm>
          <a:prstGeom prst="line">
            <a:avLst/>
          </a:prstGeom>
          <a:noFill/>
          <a:ln w="9000" cap="flat">
            <a:solidFill>
              <a:srgbClr val="B9BAB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2" name="Line 4">
            <a:extLst>
              <a:ext uri="{FF2B5EF4-FFF2-40B4-BE49-F238E27FC236}">
                <a16:creationId xmlns:a16="http://schemas.microsoft.com/office/drawing/2014/main" id="{AB71FAC0-776C-4E70-9293-B8B616EA9E9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424327" y="2501204"/>
            <a:ext cx="2508" cy="80287"/>
          </a:xfrm>
          <a:prstGeom prst="line">
            <a:avLst/>
          </a:prstGeom>
          <a:noFill/>
          <a:ln w="9000" cap="flat">
            <a:solidFill>
              <a:srgbClr val="B9BAB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3" name="Freeform 5">
            <a:extLst>
              <a:ext uri="{FF2B5EF4-FFF2-40B4-BE49-F238E27FC236}">
                <a16:creationId xmlns:a16="http://schemas.microsoft.com/office/drawing/2014/main" id="{0578ADF5-2A83-4BC3-AB79-4FC5340138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24327" y="2370738"/>
            <a:ext cx="47670" cy="57705"/>
          </a:xfrm>
          <a:custGeom>
            <a:avLst/>
            <a:gdLst>
              <a:gd name="T0" fmla="*/ 0 w 84"/>
              <a:gd name="T1" fmla="*/ 100 h 101"/>
              <a:gd name="T2" fmla="*/ 0 w 84"/>
              <a:gd name="T3" fmla="*/ 75 h 101"/>
              <a:gd name="T4" fmla="*/ 83 w 84"/>
              <a:gd name="T5" fmla="*/ 0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84" h="101">
                <a:moveTo>
                  <a:pt x="0" y="100"/>
                </a:moveTo>
                <a:lnTo>
                  <a:pt x="0" y="75"/>
                </a:lnTo>
                <a:lnTo>
                  <a:pt x="83" y="0"/>
                </a:lnTo>
              </a:path>
            </a:pathLst>
          </a:cu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4" name="Line 6">
            <a:extLst>
              <a:ext uri="{FF2B5EF4-FFF2-40B4-BE49-F238E27FC236}">
                <a16:creationId xmlns:a16="http://schemas.microsoft.com/office/drawing/2014/main" id="{1EA3E9AF-6B44-4101-84BA-D9122C802CF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524685" y="2260344"/>
            <a:ext cx="52688" cy="62723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5" name="Line 7">
            <a:extLst>
              <a:ext uri="{FF2B5EF4-FFF2-40B4-BE49-F238E27FC236}">
                <a16:creationId xmlns:a16="http://schemas.microsoft.com/office/drawing/2014/main" id="{D65A1B12-3A1D-4A18-B529-11D9F4A8786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632569" y="2154968"/>
            <a:ext cx="52689" cy="57705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6" name="Line 8">
            <a:extLst>
              <a:ext uri="{FF2B5EF4-FFF2-40B4-BE49-F238E27FC236}">
                <a16:creationId xmlns:a16="http://schemas.microsoft.com/office/drawing/2014/main" id="{14E90D23-EE1A-4056-9E27-781E1D7114A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35437" y="2047082"/>
            <a:ext cx="52688" cy="57707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7" name="Line 9">
            <a:extLst>
              <a:ext uri="{FF2B5EF4-FFF2-40B4-BE49-F238E27FC236}">
                <a16:creationId xmlns:a16="http://schemas.microsoft.com/office/drawing/2014/main" id="{E32050BC-CCA3-40E4-AB7D-24C1847E15D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845831" y="1939198"/>
            <a:ext cx="52688" cy="62723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8" name="Line 10">
            <a:extLst>
              <a:ext uri="{FF2B5EF4-FFF2-40B4-BE49-F238E27FC236}">
                <a16:creationId xmlns:a16="http://schemas.microsoft.com/office/drawing/2014/main" id="{14F8833F-1D20-4122-AA59-1E72551BEA19}"/>
              </a:ext>
            </a:extLst>
          </p:cNvPr>
          <p:cNvSpPr>
            <a:spLocks noChangeShapeType="1"/>
          </p:cNvSpPr>
          <p:nvPr/>
        </p:nvSpPr>
        <p:spPr bwMode="auto">
          <a:xfrm>
            <a:off x="1958734" y="1914108"/>
            <a:ext cx="75269" cy="2508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9" name="Line 11">
            <a:extLst>
              <a:ext uri="{FF2B5EF4-FFF2-40B4-BE49-F238E27FC236}">
                <a16:creationId xmlns:a16="http://schemas.microsoft.com/office/drawing/2014/main" id="{040AC56F-7ADB-4FC0-93C3-7605761B2C50}"/>
              </a:ext>
            </a:extLst>
          </p:cNvPr>
          <p:cNvSpPr>
            <a:spLocks noChangeShapeType="1"/>
          </p:cNvSpPr>
          <p:nvPr/>
        </p:nvSpPr>
        <p:spPr bwMode="auto">
          <a:xfrm>
            <a:off x="2109271" y="1914108"/>
            <a:ext cx="75269" cy="2508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0" name="Line 12">
            <a:extLst>
              <a:ext uri="{FF2B5EF4-FFF2-40B4-BE49-F238E27FC236}">
                <a16:creationId xmlns:a16="http://schemas.microsoft.com/office/drawing/2014/main" id="{9D8C0CC9-86B8-4ECA-9BFC-171A99862B68}"/>
              </a:ext>
            </a:extLst>
          </p:cNvPr>
          <p:cNvSpPr>
            <a:spLocks noChangeShapeType="1"/>
          </p:cNvSpPr>
          <p:nvPr/>
        </p:nvSpPr>
        <p:spPr bwMode="auto">
          <a:xfrm>
            <a:off x="2259808" y="1914108"/>
            <a:ext cx="75269" cy="2508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1" name="Line 13">
            <a:extLst>
              <a:ext uri="{FF2B5EF4-FFF2-40B4-BE49-F238E27FC236}">
                <a16:creationId xmlns:a16="http://schemas.microsoft.com/office/drawing/2014/main" id="{0A503EBF-F91B-4BCD-B679-A45E61E44FB4}"/>
              </a:ext>
            </a:extLst>
          </p:cNvPr>
          <p:cNvSpPr>
            <a:spLocks noChangeShapeType="1"/>
          </p:cNvSpPr>
          <p:nvPr/>
        </p:nvSpPr>
        <p:spPr bwMode="auto">
          <a:xfrm>
            <a:off x="2410346" y="1914108"/>
            <a:ext cx="75269" cy="2508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2" name="Line 14">
            <a:extLst>
              <a:ext uri="{FF2B5EF4-FFF2-40B4-BE49-F238E27FC236}">
                <a16:creationId xmlns:a16="http://schemas.microsoft.com/office/drawing/2014/main" id="{4D9B65E4-656D-454C-B54F-BEF154308BF7}"/>
              </a:ext>
            </a:extLst>
          </p:cNvPr>
          <p:cNvSpPr>
            <a:spLocks noChangeShapeType="1"/>
          </p:cNvSpPr>
          <p:nvPr/>
        </p:nvSpPr>
        <p:spPr bwMode="auto">
          <a:xfrm>
            <a:off x="2560883" y="1914108"/>
            <a:ext cx="75269" cy="2508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3" name="Line 15">
            <a:extLst>
              <a:ext uri="{FF2B5EF4-FFF2-40B4-BE49-F238E27FC236}">
                <a16:creationId xmlns:a16="http://schemas.microsoft.com/office/drawing/2014/main" id="{5BD60B21-BD5A-4639-9943-70467AEB1FD7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930" y="1914108"/>
            <a:ext cx="75269" cy="2508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4" name="Line 16">
            <a:extLst>
              <a:ext uri="{FF2B5EF4-FFF2-40B4-BE49-F238E27FC236}">
                <a16:creationId xmlns:a16="http://schemas.microsoft.com/office/drawing/2014/main" id="{B531E152-5241-4575-AAF6-841B88490B43}"/>
              </a:ext>
            </a:extLst>
          </p:cNvPr>
          <p:cNvSpPr>
            <a:spLocks noChangeShapeType="1"/>
          </p:cNvSpPr>
          <p:nvPr/>
        </p:nvSpPr>
        <p:spPr bwMode="auto">
          <a:xfrm>
            <a:off x="2864467" y="1914108"/>
            <a:ext cx="75269" cy="2508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5" name="Line 17">
            <a:extLst>
              <a:ext uri="{FF2B5EF4-FFF2-40B4-BE49-F238E27FC236}">
                <a16:creationId xmlns:a16="http://schemas.microsoft.com/office/drawing/2014/main" id="{F76A4E55-2FB0-4B47-BD6F-07919F266A46}"/>
              </a:ext>
            </a:extLst>
          </p:cNvPr>
          <p:cNvSpPr>
            <a:spLocks noChangeShapeType="1"/>
          </p:cNvSpPr>
          <p:nvPr/>
        </p:nvSpPr>
        <p:spPr bwMode="auto">
          <a:xfrm>
            <a:off x="3015004" y="1914108"/>
            <a:ext cx="75269" cy="2508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6" name="Line 18">
            <a:extLst>
              <a:ext uri="{FF2B5EF4-FFF2-40B4-BE49-F238E27FC236}">
                <a16:creationId xmlns:a16="http://schemas.microsoft.com/office/drawing/2014/main" id="{1E6E606A-99F4-4F66-8449-E098E8228DAD}"/>
              </a:ext>
            </a:extLst>
          </p:cNvPr>
          <p:cNvSpPr>
            <a:spLocks noChangeShapeType="1"/>
          </p:cNvSpPr>
          <p:nvPr/>
        </p:nvSpPr>
        <p:spPr bwMode="auto">
          <a:xfrm>
            <a:off x="3165542" y="1919126"/>
            <a:ext cx="52688" cy="52688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7" name="Line 19">
            <a:extLst>
              <a:ext uri="{FF2B5EF4-FFF2-40B4-BE49-F238E27FC236}">
                <a16:creationId xmlns:a16="http://schemas.microsoft.com/office/drawing/2014/main" id="{DCCB0126-8EDD-4D71-B536-330B03561DFE}"/>
              </a:ext>
            </a:extLst>
          </p:cNvPr>
          <p:cNvSpPr>
            <a:spLocks noChangeShapeType="1"/>
          </p:cNvSpPr>
          <p:nvPr/>
        </p:nvSpPr>
        <p:spPr bwMode="auto">
          <a:xfrm>
            <a:off x="3275936" y="2021992"/>
            <a:ext cx="52688" cy="55197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8" name="Line 20">
            <a:extLst>
              <a:ext uri="{FF2B5EF4-FFF2-40B4-BE49-F238E27FC236}">
                <a16:creationId xmlns:a16="http://schemas.microsoft.com/office/drawing/2014/main" id="{0647756E-3FB4-4B02-B13A-F074BE0D59B8}"/>
              </a:ext>
            </a:extLst>
          </p:cNvPr>
          <p:cNvSpPr>
            <a:spLocks noChangeShapeType="1"/>
          </p:cNvSpPr>
          <p:nvPr/>
        </p:nvSpPr>
        <p:spPr bwMode="auto">
          <a:xfrm>
            <a:off x="3378802" y="2129878"/>
            <a:ext cx="55197" cy="52688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9" name="Line 21">
            <a:extLst>
              <a:ext uri="{FF2B5EF4-FFF2-40B4-BE49-F238E27FC236}">
                <a16:creationId xmlns:a16="http://schemas.microsoft.com/office/drawing/2014/main" id="{97C28207-C87A-465C-B7BF-4095CFC7D806}"/>
              </a:ext>
            </a:extLst>
          </p:cNvPr>
          <p:cNvSpPr>
            <a:spLocks noChangeShapeType="1"/>
          </p:cNvSpPr>
          <p:nvPr/>
        </p:nvSpPr>
        <p:spPr bwMode="auto">
          <a:xfrm>
            <a:off x="3486688" y="2235254"/>
            <a:ext cx="52688" cy="55197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0" name="Line 22">
            <a:extLst>
              <a:ext uri="{FF2B5EF4-FFF2-40B4-BE49-F238E27FC236}">
                <a16:creationId xmlns:a16="http://schemas.microsoft.com/office/drawing/2014/main" id="{C60D12C6-2D6B-47BE-977F-3B5D3EB2D55A}"/>
              </a:ext>
            </a:extLst>
          </p:cNvPr>
          <p:cNvSpPr>
            <a:spLocks noChangeShapeType="1"/>
          </p:cNvSpPr>
          <p:nvPr/>
        </p:nvSpPr>
        <p:spPr bwMode="auto">
          <a:xfrm>
            <a:off x="3597082" y="2343139"/>
            <a:ext cx="52688" cy="52689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1" name="Line 23">
            <a:extLst>
              <a:ext uri="{FF2B5EF4-FFF2-40B4-BE49-F238E27FC236}">
                <a16:creationId xmlns:a16="http://schemas.microsoft.com/office/drawing/2014/main" id="{FC98D35F-1D93-424B-A464-F0DFB015BBB1}"/>
              </a:ext>
            </a:extLst>
          </p:cNvPr>
          <p:cNvSpPr>
            <a:spLocks noChangeShapeType="1"/>
          </p:cNvSpPr>
          <p:nvPr/>
        </p:nvSpPr>
        <p:spPr bwMode="auto">
          <a:xfrm>
            <a:off x="3667333" y="2466078"/>
            <a:ext cx="2508" cy="75269"/>
          </a:xfrm>
          <a:prstGeom prst="line">
            <a:avLst/>
          </a:prstGeom>
          <a:noFill/>
          <a:ln w="9000" cap="flat">
            <a:solidFill>
              <a:srgbClr val="B9BAB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2" name="Line 24">
            <a:extLst>
              <a:ext uri="{FF2B5EF4-FFF2-40B4-BE49-F238E27FC236}">
                <a16:creationId xmlns:a16="http://schemas.microsoft.com/office/drawing/2014/main" id="{387526FF-6F31-4943-AA40-DA1CEA7C4547}"/>
              </a:ext>
            </a:extLst>
          </p:cNvPr>
          <p:cNvSpPr>
            <a:spLocks noChangeShapeType="1"/>
          </p:cNvSpPr>
          <p:nvPr/>
        </p:nvSpPr>
        <p:spPr bwMode="auto">
          <a:xfrm>
            <a:off x="3667333" y="2616616"/>
            <a:ext cx="2508" cy="75269"/>
          </a:xfrm>
          <a:prstGeom prst="line">
            <a:avLst/>
          </a:prstGeom>
          <a:noFill/>
          <a:ln w="9000" cap="flat">
            <a:solidFill>
              <a:srgbClr val="B9BAB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3" name="Line 25">
            <a:extLst>
              <a:ext uri="{FF2B5EF4-FFF2-40B4-BE49-F238E27FC236}">
                <a16:creationId xmlns:a16="http://schemas.microsoft.com/office/drawing/2014/main" id="{22E9BCB1-8AAA-455E-9FC0-8717A0A920CE}"/>
              </a:ext>
            </a:extLst>
          </p:cNvPr>
          <p:cNvSpPr>
            <a:spLocks noChangeShapeType="1"/>
          </p:cNvSpPr>
          <p:nvPr/>
        </p:nvSpPr>
        <p:spPr bwMode="auto">
          <a:xfrm>
            <a:off x="3667333" y="2767153"/>
            <a:ext cx="2508" cy="75269"/>
          </a:xfrm>
          <a:prstGeom prst="line">
            <a:avLst/>
          </a:prstGeom>
          <a:noFill/>
          <a:ln w="9000" cap="flat">
            <a:solidFill>
              <a:srgbClr val="B9BAB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4" name="Line 26">
            <a:extLst>
              <a:ext uri="{FF2B5EF4-FFF2-40B4-BE49-F238E27FC236}">
                <a16:creationId xmlns:a16="http://schemas.microsoft.com/office/drawing/2014/main" id="{FEC2380E-F942-47E4-A9BF-F88938E980A3}"/>
              </a:ext>
            </a:extLst>
          </p:cNvPr>
          <p:cNvSpPr>
            <a:spLocks noChangeShapeType="1"/>
          </p:cNvSpPr>
          <p:nvPr/>
        </p:nvSpPr>
        <p:spPr bwMode="auto">
          <a:xfrm>
            <a:off x="3667333" y="2920198"/>
            <a:ext cx="2508" cy="75269"/>
          </a:xfrm>
          <a:prstGeom prst="line">
            <a:avLst/>
          </a:prstGeom>
          <a:noFill/>
          <a:ln w="9000" cap="flat">
            <a:solidFill>
              <a:srgbClr val="B9BAB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5" name="Line 27">
            <a:extLst>
              <a:ext uri="{FF2B5EF4-FFF2-40B4-BE49-F238E27FC236}">
                <a16:creationId xmlns:a16="http://schemas.microsoft.com/office/drawing/2014/main" id="{6C4AFE54-0FFA-487C-8566-8F77647EAB9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817870" y="2955324"/>
            <a:ext cx="2508" cy="80287"/>
          </a:xfrm>
          <a:prstGeom prst="line">
            <a:avLst/>
          </a:prstGeom>
          <a:noFill/>
          <a:ln w="9000" cap="flat">
            <a:solidFill>
              <a:srgbClr val="B9BAB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6" name="Line 28">
            <a:extLst>
              <a:ext uri="{FF2B5EF4-FFF2-40B4-BE49-F238E27FC236}">
                <a16:creationId xmlns:a16="http://schemas.microsoft.com/office/drawing/2014/main" id="{8900D319-E799-4D78-A2D2-78E5C02888C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817870" y="2802278"/>
            <a:ext cx="2508" cy="80287"/>
          </a:xfrm>
          <a:prstGeom prst="line">
            <a:avLst/>
          </a:prstGeom>
          <a:noFill/>
          <a:ln w="9000" cap="flat">
            <a:solidFill>
              <a:srgbClr val="B9BAB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7" name="Line 29">
            <a:extLst>
              <a:ext uri="{FF2B5EF4-FFF2-40B4-BE49-F238E27FC236}">
                <a16:creationId xmlns:a16="http://schemas.microsoft.com/office/drawing/2014/main" id="{C1A2DBC5-5B31-4D9F-8426-0428E1C39CE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817870" y="2654249"/>
            <a:ext cx="2508" cy="80287"/>
          </a:xfrm>
          <a:prstGeom prst="line">
            <a:avLst/>
          </a:prstGeom>
          <a:noFill/>
          <a:ln w="9000" cap="flat">
            <a:solidFill>
              <a:srgbClr val="B9BAB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8" name="Line 30">
            <a:extLst>
              <a:ext uri="{FF2B5EF4-FFF2-40B4-BE49-F238E27FC236}">
                <a16:creationId xmlns:a16="http://schemas.microsoft.com/office/drawing/2014/main" id="{6BDF47C2-6FCA-4211-A0A9-CE87546F4F9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817870" y="2501204"/>
            <a:ext cx="2508" cy="80287"/>
          </a:xfrm>
          <a:prstGeom prst="line">
            <a:avLst/>
          </a:prstGeom>
          <a:noFill/>
          <a:ln w="9000" cap="flat">
            <a:solidFill>
              <a:srgbClr val="B9BAB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9" name="Freeform 31">
            <a:extLst>
              <a:ext uri="{FF2B5EF4-FFF2-40B4-BE49-F238E27FC236}">
                <a16:creationId xmlns:a16="http://schemas.microsoft.com/office/drawing/2014/main" id="{B65293D6-8146-404D-81C1-126A741A2F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17870" y="2370738"/>
            <a:ext cx="42652" cy="57705"/>
          </a:xfrm>
          <a:custGeom>
            <a:avLst/>
            <a:gdLst>
              <a:gd name="T0" fmla="*/ 0 w 75"/>
              <a:gd name="T1" fmla="*/ 100 h 101"/>
              <a:gd name="T2" fmla="*/ 0 w 75"/>
              <a:gd name="T3" fmla="*/ 75 h 101"/>
              <a:gd name="T4" fmla="*/ 74 w 75"/>
              <a:gd name="T5" fmla="*/ 0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75" h="101">
                <a:moveTo>
                  <a:pt x="0" y="100"/>
                </a:moveTo>
                <a:lnTo>
                  <a:pt x="0" y="75"/>
                </a:lnTo>
                <a:lnTo>
                  <a:pt x="74" y="0"/>
                </a:lnTo>
              </a:path>
            </a:pathLst>
          </a:cu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0" name="Line 32">
            <a:extLst>
              <a:ext uri="{FF2B5EF4-FFF2-40B4-BE49-F238E27FC236}">
                <a16:creationId xmlns:a16="http://schemas.microsoft.com/office/drawing/2014/main" id="{F3B4BAC4-D69F-4307-9499-3C45979C239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913210" y="2260344"/>
            <a:ext cx="57705" cy="62723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1" name="Line 33">
            <a:extLst>
              <a:ext uri="{FF2B5EF4-FFF2-40B4-BE49-F238E27FC236}">
                <a16:creationId xmlns:a16="http://schemas.microsoft.com/office/drawing/2014/main" id="{557F56B1-8B8A-4618-827D-E6976B0D6BB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021095" y="2154968"/>
            <a:ext cx="52689" cy="57705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2" name="Line 34">
            <a:extLst>
              <a:ext uri="{FF2B5EF4-FFF2-40B4-BE49-F238E27FC236}">
                <a16:creationId xmlns:a16="http://schemas.microsoft.com/office/drawing/2014/main" id="{6B5C0FB5-3D6C-4CBB-871E-06263DB1BE4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123963" y="2047082"/>
            <a:ext cx="55197" cy="57707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3" name="Line 35">
            <a:extLst>
              <a:ext uri="{FF2B5EF4-FFF2-40B4-BE49-F238E27FC236}">
                <a16:creationId xmlns:a16="http://schemas.microsoft.com/office/drawing/2014/main" id="{9BF0062C-F942-4AE0-92D0-44E3E288D08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34357" y="1939198"/>
            <a:ext cx="52688" cy="62723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4" name="Line 36">
            <a:extLst>
              <a:ext uri="{FF2B5EF4-FFF2-40B4-BE49-F238E27FC236}">
                <a16:creationId xmlns:a16="http://schemas.microsoft.com/office/drawing/2014/main" id="{0EE4713B-A552-4AF6-BF15-50355EB2FD75}"/>
              </a:ext>
            </a:extLst>
          </p:cNvPr>
          <p:cNvSpPr>
            <a:spLocks noChangeShapeType="1"/>
          </p:cNvSpPr>
          <p:nvPr/>
        </p:nvSpPr>
        <p:spPr bwMode="auto">
          <a:xfrm>
            <a:off x="4352277" y="1914108"/>
            <a:ext cx="75269" cy="2508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5" name="Line 37">
            <a:extLst>
              <a:ext uri="{FF2B5EF4-FFF2-40B4-BE49-F238E27FC236}">
                <a16:creationId xmlns:a16="http://schemas.microsoft.com/office/drawing/2014/main" id="{A43DC0E7-712F-4808-B0CF-1AE6418347D5}"/>
              </a:ext>
            </a:extLst>
          </p:cNvPr>
          <p:cNvSpPr>
            <a:spLocks noChangeShapeType="1"/>
          </p:cNvSpPr>
          <p:nvPr/>
        </p:nvSpPr>
        <p:spPr bwMode="auto">
          <a:xfrm>
            <a:off x="4502814" y="1914108"/>
            <a:ext cx="75269" cy="2508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6" name="Line 38">
            <a:extLst>
              <a:ext uri="{FF2B5EF4-FFF2-40B4-BE49-F238E27FC236}">
                <a16:creationId xmlns:a16="http://schemas.microsoft.com/office/drawing/2014/main" id="{948E69D9-A541-40F1-8919-FD9F436EBF0B}"/>
              </a:ext>
            </a:extLst>
          </p:cNvPr>
          <p:cNvSpPr>
            <a:spLocks noChangeShapeType="1"/>
          </p:cNvSpPr>
          <p:nvPr/>
        </p:nvSpPr>
        <p:spPr bwMode="auto">
          <a:xfrm>
            <a:off x="4653351" y="1914108"/>
            <a:ext cx="75269" cy="2508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7" name="Line 39">
            <a:extLst>
              <a:ext uri="{FF2B5EF4-FFF2-40B4-BE49-F238E27FC236}">
                <a16:creationId xmlns:a16="http://schemas.microsoft.com/office/drawing/2014/main" id="{D72CDEF8-931E-46CF-9930-DD70B009EF70}"/>
              </a:ext>
            </a:extLst>
          </p:cNvPr>
          <p:cNvSpPr>
            <a:spLocks noChangeShapeType="1"/>
          </p:cNvSpPr>
          <p:nvPr/>
        </p:nvSpPr>
        <p:spPr bwMode="auto">
          <a:xfrm>
            <a:off x="4803889" y="1914108"/>
            <a:ext cx="75269" cy="2508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8" name="Line 40">
            <a:extLst>
              <a:ext uri="{FF2B5EF4-FFF2-40B4-BE49-F238E27FC236}">
                <a16:creationId xmlns:a16="http://schemas.microsoft.com/office/drawing/2014/main" id="{F765CDE1-BC15-49DB-AA1E-BFB05593BB00}"/>
              </a:ext>
            </a:extLst>
          </p:cNvPr>
          <p:cNvSpPr>
            <a:spLocks noChangeShapeType="1"/>
          </p:cNvSpPr>
          <p:nvPr/>
        </p:nvSpPr>
        <p:spPr bwMode="auto">
          <a:xfrm>
            <a:off x="4956936" y="1914108"/>
            <a:ext cx="75269" cy="2508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9" name="Line 41">
            <a:extLst>
              <a:ext uri="{FF2B5EF4-FFF2-40B4-BE49-F238E27FC236}">
                <a16:creationId xmlns:a16="http://schemas.microsoft.com/office/drawing/2014/main" id="{623BB7F8-FF71-4D00-848D-1A3B75149ADE}"/>
              </a:ext>
            </a:extLst>
          </p:cNvPr>
          <p:cNvSpPr>
            <a:spLocks noChangeShapeType="1"/>
          </p:cNvSpPr>
          <p:nvPr/>
        </p:nvSpPr>
        <p:spPr bwMode="auto">
          <a:xfrm>
            <a:off x="5107473" y="1914108"/>
            <a:ext cx="75269" cy="2508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60" name="Line 42">
            <a:extLst>
              <a:ext uri="{FF2B5EF4-FFF2-40B4-BE49-F238E27FC236}">
                <a16:creationId xmlns:a16="http://schemas.microsoft.com/office/drawing/2014/main" id="{75D5A6EC-929D-4FC7-A510-46A5931EC4EF}"/>
              </a:ext>
            </a:extLst>
          </p:cNvPr>
          <p:cNvSpPr>
            <a:spLocks noChangeShapeType="1"/>
          </p:cNvSpPr>
          <p:nvPr/>
        </p:nvSpPr>
        <p:spPr bwMode="auto">
          <a:xfrm>
            <a:off x="5258010" y="1914108"/>
            <a:ext cx="75269" cy="2508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61" name="Line 43">
            <a:extLst>
              <a:ext uri="{FF2B5EF4-FFF2-40B4-BE49-F238E27FC236}">
                <a16:creationId xmlns:a16="http://schemas.microsoft.com/office/drawing/2014/main" id="{1C9C45AD-3BDF-461D-A4EC-DD4FE9047DCC}"/>
              </a:ext>
            </a:extLst>
          </p:cNvPr>
          <p:cNvSpPr>
            <a:spLocks noChangeShapeType="1"/>
          </p:cNvSpPr>
          <p:nvPr/>
        </p:nvSpPr>
        <p:spPr bwMode="auto">
          <a:xfrm>
            <a:off x="5408548" y="1914108"/>
            <a:ext cx="75269" cy="2508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62" name="Line 44">
            <a:extLst>
              <a:ext uri="{FF2B5EF4-FFF2-40B4-BE49-F238E27FC236}">
                <a16:creationId xmlns:a16="http://schemas.microsoft.com/office/drawing/2014/main" id="{37E40815-D0B2-4861-9967-81C1750D1495}"/>
              </a:ext>
            </a:extLst>
          </p:cNvPr>
          <p:cNvSpPr>
            <a:spLocks noChangeShapeType="1"/>
          </p:cNvSpPr>
          <p:nvPr/>
        </p:nvSpPr>
        <p:spPr bwMode="auto">
          <a:xfrm>
            <a:off x="5559085" y="1919126"/>
            <a:ext cx="52688" cy="52688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63" name="Line 45">
            <a:extLst>
              <a:ext uri="{FF2B5EF4-FFF2-40B4-BE49-F238E27FC236}">
                <a16:creationId xmlns:a16="http://schemas.microsoft.com/office/drawing/2014/main" id="{2DF52DAF-6FF7-4437-92B2-60A433C20EEE}"/>
              </a:ext>
            </a:extLst>
          </p:cNvPr>
          <p:cNvSpPr>
            <a:spLocks noChangeShapeType="1"/>
          </p:cNvSpPr>
          <p:nvPr/>
        </p:nvSpPr>
        <p:spPr bwMode="auto">
          <a:xfrm>
            <a:off x="5664461" y="2021992"/>
            <a:ext cx="52688" cy="55197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64" name="Line 46">
            <a:extLst>
              <a:ext uri="{FF2B5EF4-FFF2-40B4-BE49-F238E27FC236}">
                <a16:creationId xmlns:a16="http://schemas.microsoft.com/office/drawing/2014/main" id="{5280C0B0-8C44-48BB-B378-439DF7E6DB5F}"/>
              </a:ext>
            </a:extLst>
          </p:cNvPr>
          <p:cNvSpPr>
            <a:spLocks noChangeShapeType="1"/>
          </p:cNvSpPr>
          <p:nvPr/>
        </p:nvSpPr>
        <p:spPr bwMode="auto">
          <a:xfrm>
            <a:off x="5772345" y="2129878"/>
            <a:ext cx="52689" cy="52688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65" name="Line 47">
            <a:extLst>
              <a:ext uri="{FF2B5EF4-FFF2-40B4-BE49-F238E27FC236}">
                <a16:creationId xmlns:a16="http://schemas.microsoft.com/office/drawing/2014/main" id="{822C7735-460E-478D-BE4E-B90262CF69EE}"/>
              </a:ext>
            </a:extLst>
          </p:cNvPr>
          <p:cNvSpPr>
            <a:spLocks noChangeShapeType="1"/>
          </p:cNvSpPr>
          <p:nvPr/>
        </p:nvSpPr>
        <p:spPr bwMode="auto">
          <a:xfrm>
            <a:off x="5875213" y="2235254"/>
            <a:ext cx="57705" cy="55197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66" name="Line 48">
            <a:extLst>
              <a:ext uri="{FF2B5EF4-FFF2-40B4-BE49-F238E27FC236}">
                <a16:creationId xmlns:a16="http://schemas.microsoft.com/office/drawing/2014/main" id="{41C8ED80-B0D3-43E8-B264-43C87AB255C0}"/>
              </a:ext>
            </a:extLst>
          </p:cNvPr>
          <p:cNvSpPr>
            <a:spLocks noChangeShapeType="1"/>
          </p:cNvSpPr>
          <p:nvPr/>
        </p:nvSpPr>
        <p:spPr bwMode="auto">
          <a:xfrm>
            <a:off x="5985607" y="2343139"/>
            <a:ext cx="52688" cy="52689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67" name="Line 49">
            <a:extLst>
              <a:ext uri="{FF2B5EF4-FFF2-40B4-BE49-F238E27FC236}">
                <a16:creationId xmlns:a16="http://schemas.microsoft.com/office/drawing/2014/main" id="{24D32704-E118-4E0F-859B-8C40D8E23372}"/>
              </a:ext>
            </a:extLst>
          </p:cNvPr>
          <p:cNvSpPr>
            <a:spLocks noChangeShapeType="1"/>
          </p:cNvSpPr>
          <p:nvPr/>
        </p:nvSpPr>
        <p:spPr bwMode="auto">
          <a:xfrm>
            <a:off x="6055858" y="2466078"/>
            <a:ext cx="2508" cy="75269"/>
          </a:xfrm>
          <a:prstGeom prst="line">
            <a:avLst/>
          </a:prstGeom>
          <a:noFill/>
          <a:ln w="9000" cap="flat">
            <a:solidFill>
              <a:srgbClr val="B9BAB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78" name="Line 50">
            <a:extLst>
              <a:ext uri="{FF2B5EF4-FFF2-40B4-BE49-F238E27FC236}">
                <a16:creationId xmlns:a16="http://schemas.microsoft.com/office/drawing/2014/main" id="{75FD0F3C-B362-4A89-8AA2-CE5DC7740444}"/>
              </a:ext>
            </a:extLst>
          </p:cNvPr>
          <p:cNvSpPr>
            <a:spLocks noChangeShapeType="1"/>
          </p:cNvSpPr>
          <p:nvPr/>
        </p:nvSpPr>
        <p:spPr bwMode="auto">
          <a:xfrm>
            <a:off x="6055858" y="2616616"/>
            <a:ext cx="2508" cy="75269"/>
          </a:xfrm>
          <a:prstGeom prst="line">
            <a:avLst/>
          </a:prstGeom>
          <a:noFill/>
          <a:ln w="9000" cap="flat">
            <a:solidFill>
              <a:srgbClr val="B9BAB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79" name="Line 51">
            <a:extLst>
              <a:ext uri="{FF2B5EF4-FFF2-40B4-BE49-F238E27FC236}">
                <a16:creationId xmlns:a16="http://schemas.microsoft.com/office/drawing/2014/main" id="{7F09A714-E7B9-4459-A649-59B9B45F9996}"/>
              </a:ext>
            </a:extLst>
          </p:cNvPr>
          <p:cNvSpPr>
            <a:spLocks noChangeShapeType="1"/>
          </p:cNvSpPr>
          <p:nvPr/>
        </p:nvSpPr>
        <p:spPr bwMode="auto">
          <a:xfrm>
            <a:off x="6055858" y="2767153"/>
            <a:ext cx="2508" cy="75269"/>
          </a:xfrm>
          <a:prstGeom prst="line">
            <a:avLst/>
          </a:prstGeom>
          <a:noFill/>
          <a:ln w="9000" cap="flat">
            <a:solidFill>
              <a:srgbClr val="B9BAB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80" name="Line 52">
            <a:extLst>
              <a:ext uri="{FF2B5EF4-FFF2-40B4-BE49-F238E27FC236}">
                <a16:creationId xmlns:a16="http://schemas.microsoft.com/office/drawing/2014/main" id="{4375BED1-F320-4495-BD34-9551DDB24E4A}"/>
              </a:ext>
            </a:extLst>
          </p:cNvPr>
          <p:cNvSpPr>
            <a:spLocks noChangeShapeType="1"/>
          </p:cNvSpPr>
          <p:nvPr/>
        </p:nvSpPr>
        <p:spPr bwMode="auto">
          <a:xfrm>
            <a:off x="6055858" y="2920198"/>
            <a:ext cx="2508" cy="75269"/>
          </a:xfrm>
          <a:prstGeom prst="line">
            <a:avLst/>
          </a:prstGeom>
          <a:noFill/>
          <a:ln w="9000" cap="flat">
            <a:solidFill>
              <a:srgbClr val="B9BAB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81" name="Line 53">
            <a:extLst>
              <a:ext uri="{FF2B5EF4-FFF2-40B4-BE49-F238E27FC236}">
                <a16:creationId xmlns:a16="http://schemas.microsoft.com/office/drawing/2014/main" id="{19A45306-A90B-4476-BD48-295A6230776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206395" y="2955324"/>
            <a:ext cx="2508" cy="80287"/>
          </a:xfrm>
          <a:prstGeom prst="line">
            <a:avLst/>
          </a:prstGeom>
          <a:noFill/>
          <a:ln w="9000" cap="flat">
            <a:solidFill>
              <a:srgbClr val="B9BAB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82" name="Line 54">
            <a:extLst>
              <a:ext uri="{FF2B5EF4-FFF2-40B4-BE49-F238E27FC236}">
                <a16:creationId xmlns:a16="http://schemas.microsoft.com/office/drawing/2014/main" id="{6128E514-CA8D-4801-A617-573E21E73C7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206395" y="2802278"/>
            <a:ext cx="2508" cy="80287"/>
          </a:xfrm>
          <a:prstGeom prst="line">
            <a:avLst/>
          </a:prstGeom>
          <a:noFill/>
          <a:ln w="9000" cap="flat">
            <a:solidFill>
              <a:srgbClr val="B9BAB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83" name="Line 55">
            <a:extLst>
              <a:ext uri="{FF2B5EF4-FFF2-40B4-BE49-F238E27FC236}">
                <a16:creationId xmlns:a16="http://schemas.microsoft.com/office/drawing/2014/main" id="{E7E99DA5-EB3B-4BA7-84D1-F058C10A686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206395" y="2654249"/>
            <a:ext cx="2508" cy="80287"/>
          </a:xfrm>
          <a:prstGeom prst="line">
            <a:avLst/>
          </a:prstGeom>
          <a:noFill/>
          <a:ln w="9000" cap="flat">
            <a:solidFill>
              <a:srgbClr val="B9BAB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84" name="Line 56">
            <a:extLst>
              <a:ext uri="{FF2B5EF4-FFF2-40B4-BE49-F238E27FC236}">
                <a16:creationId xmlns:a16="http://schemas.microsoft.com/office/drawing/2014/main" id="{8A136FC2-C5C7-454D-9D3E-10F1FF6FFD7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206395" y="2501204"/>
            <a:ext cx="2508" cy="80287"/>
          </a:xfrm>
          <a:prstGeom prst="line">
            <a:avLst/>
          </a:prstGeom>
          <a:noFill/>
          <a:ln w="9000" cap="flat">
            <a:solidFill>
              <a:srgbClr val="B9BAB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85" name="Freeform 57">
            <a:extLst>
              <a:ext uri="{FF2B5EF4-FFF2-40B4-BE49-F238E27FC236}">
                <a16:creationId xmlns:a16="http://schemas.microsoft.com/office/drawing/2014/main" id="{5F7F778A-B12C-4F18-8EB2-4FC82BD0C8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06395" y="2370738"/>
            <a:ext cx="42652" cy="57705"/>
          </a:xfrm>
          <a:custGeom>
            <a:avLst/>
            <a:gdLst>
              <a:gd name="T0" fmla="*/ 0 w 76"/>
              <a:gd name="T1" fmla="*/ 100 h 101"/>
              <a:gd name="T2" fmla="*/ 0 w 76"/>
              <a:gd name="T3" fmla="*/ 75 h 101"/>
              <a:gd name="T4" fmla="*/ 75 w 76"/>
              <a:gd name="T5" fmla="*/ 0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76" h="101">
                <a:moveTo>
                  <a:pt x="0" y="100"/>
                </a:moveTo>
                <a:lnTo>
                  <a:pt x="0" y="75"/>
                </a:lnTo>
                <a:lnTo>
                  <a:pt x="75" y="0"/>
                </a:lnTo>
              </a:path>
            </a:pathLst>
          </a:cu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86" name="Line 58">
            <a:extLst>
              <a:ext uri="{FF2B5EF4-FFF2-40B4-BE49-F238E27FC236}">
                <a16:creationId xmlns:a16="http://schemas.microsoft.com/office/drawing/2014/main" id="{600E9887-ADB2-4AA4-A34B-D8E922E52E8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04244" y="2260344"/>
            <a:ext cx="52689" cy="62723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87" name="Line 59">
            <a:extLst>
              <a:ext uri="{FF2B5EF4-FFF2-40B4-BE49-F238E27FC236}">
                <a16:creationId xmlns:a16="http://schemas.microsoft.com/office/drawing/2014/main" id="{25DEA563-24BA-4EBA-8493-C96096DD8E3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409620" y="2154968"/>
            <a:ext cx="55197" cy="57705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88" name="Line 60">
            <a:extLst>
              <a:ext uri="{FF2B5EF4-FFF2-40B4-BE49-F238E27FC236}">
                <a16:creationId xmlns:a16="http://schemas.microsoft.com/office/drawing/2014/main" id="{B44E1B97-9452-42B2-8F5C-B429DFD9B96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517506" y="2047082"/>
            <a:ext cx="52688" cy="57707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89" name="Line 61">
            <a:extLst>
              <a:ext uri="{FF2B5EF4-FFF2-40B4-BE49-F238E27FC236}">
                <a16:creationId xmlns:a16="http://schemas.microsoft.com/office/drawing/2014/main" id="{382BCD36-0637-49A7-9E39-0DE77A535DB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620372" y="1939198"/>
            <a:ext cx="55197" cy="62723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90" name="Line 62">
            <a:extLst>
              <a:ext uri="{FF2B5EF4-FFF2-40B4-BE49-F238E27FC236}">
                <a16:creationId xmlns:a16="http://schemas.microsoft.com/office/drawing/2014/main" id="{6BD02DAC-3250-4FF6-B0ED-7A221848BBCB}"/>
              </a:ext>
            </a:extLst>
          </p:cNvPr>
          <p:cNvSpPr>
            <a:spLocks noChangeShapeType="1"/>
          </p:cNvSpPr>
          <p:nvPr/>
        </p:nvSpPr>
        <p:spPr bwMode="auto">
          <a:xfrm>
            <a:off x="6740802" y="1914108"/>
            <a:ext cx="75269" cy="2508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91" name="Line 63">
            <a:extLst>
              <a:ext uri="{FF2B5EF4-FFF2-40B4-BE49-F238E27FC236}">
                <a16:creationId xmlns:a16="http://schemas.microsoft.com/office/drawing/2014/main" id="{24CC1FDF-41A7-4C6B-9704-5C9E447092ED}"/>
              </a:ext>
            </a:extLst>
          </p:cNvPr>
          <p:cNvSpPr>
            <a:spLocks noChangeShapeType="1"/>
          </p:cNvSpPr>
          <p:nvPr/>
        </p:nvSpPr>
        <p:spPr bwMode="auto">
          <a:xfrm>
            <a:off x="6891339" y="1914108"/>
            <a:ext cx="75269" cy="2508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92" name="Line 64">
            <a:extLst>
              <a:ext uri="{FF2B5EF4-FFF2-40B4-BE49-F238E27FC236}">
                <a16:creationId xmlns:a16="http://schemas.microsoft.com/office/drawing/2014/main" id="{D588255B-433B-4596-A9C2-C2CA94BDB8A0}"/>
              </a:ext>
            </a:extLst>
          </p:cNvPr>
          <p:cNvSpPr>
            <a:spLocks noChangeShapeType="1"/>
          </p:cNvSpPr>
          <p:nvPr/>
        </p:nvSpPr>
        <p:spPr bwMode="auto">
          <a:xfrm>
            <a:off x="7041877" y="1914108"/>
            <a:ext cx="75269" cy="2508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93" name="Line 65">
            <a:extLst>
              <a:ext uri="{FF2B5EF4-FFF2-40B4-BE49-F238E27FC236}">
                <a16:creationId xmlns:a16="http://schemas.microsoft.com/office/drawing/2014/main" id="{ABAF1C4C-372F-4B8F-A4AE-8CDF573E5A4B}"/>
              </a:ext>
            </a:extLst>
          </p:cNvPr>
          <p:cNvSpPr>
            <a:spLocks noChangeShapeType="1"/>
          </p:cNvSpPr>
          <p:nvPr/>
        </p:nvSpPr>
        <p:spPr bwMode="auto">
          <a:xfrm>
            <a:off x="7192414" y="1914108"/>
            <a:ext cx="75269" cy="2508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94" name="Line 66">
            <a:extLst>
              <a:ext uri="{FF2B5EF4-FFF2-40B4-BE49-F238E27FC236}">
                <a16:creationId xmlns:a16="http://schemas.microsoft.com/office/drawing/2014/main" id="{7D5A354C-8740-4220-A447-6932B65DAFFB}"/>
              </a:ext>
            </a:extLst>
          </p:cNvPr>
          <p:cNvSpPr>
            <a:spLocks noChangeShapeType="1"/>
          </p:cNvSpPr>
          <p:nvPr/>
        </p:nvSpPr>
        <p:spPr bwMode="auto">
          <a:xfrm>
            <a:off x="7342951" y="1914108"/>
            <a:ext cx="75269" cy="2508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95" name="Line 67">
            <a:extLst>
              <a:ext uri="{FF2B5EF4-FFF2-40B4-BE49-F238E27FC236}">
                <a16:creationId xmlns:a16="http://schemas.microsoft.com/office/drawing/2014/main" id="{8E4DBECA-A80A-4EFB-B066-50E853F678B1}"/>
              </a:ext>
            </a:extLst>
          </p:cNvPr>
          <p:cNvSpPr>
            <a:spLocks noChangeShapeType="1"/>
          </p:cNvSpPr>
          <p:nvPr/>
        </p:nvSpPr>
        <p:spPr bwMode="auto">
          <a:xfrm>
            <a:off x="7495998" y="1914108"/>
            <a:ext cx="75269" cy="2508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96" name="Line 68">
            <a:extLst>
              <a:ext uri="{FF2B5EF4-FFF2-40B4-BE49-F238E27FC236}">
                <a16:creationId xmlns:a16="http://schemas.microsoft.com/office/drawing/2014/main" id="{D127806C-531A-4FD9-8705-3732B73AB2BD}"/>
              </a:ext>
            </a:extLst>
          </p:cNvPr>
          <p:cNvSpPr>
            <a:spLocks noChangeShapeType="1"/>
          </p:cNvSpPr>
          <p:nvPr/>
        </p:nvSpPr>
        <p:spPr bwMode="auto">
          <a:xfrm>
            <a:off x="7646536" y="1914108"/>
            <a:ext cx="75269" cy="2508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97" name="Line 69">
            <a:extLst>
              <a:ext uri="{FF2B5EF4-FFF2-40B4-BE49-F238E27FC236}">
                <a16:creationId xmlns:a16="http://schemas.microsoft.com/office/drawing/2014/main" id="{F4AAD720-56F9-4DC0-B5DE-B01339594E8B}"/>
              </a:ext>
            </a:extLst>
          </p:cNvPr>
          <p:cNvSpPr>
            <a:spLocks noChangeShapeType="1"/>
          </p:cNvSpPr>
          <p:nvPr/>
        </p:nvSpPr>
        <p:spPr bwMode="auto">
          <a:xfrm>
            <a:off x="7797073" y="1914108"/>
            <a:ext cx="75269" cy="2508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98" name="Line 70">
            <a:extLst>
              <a:ext uri="{FF2B5EF4-FFF2-40B4-BE49-F238E27FC236}">
                <a16:creationId xmlns:a16="http://schemas.microsoft.com/office/drawing/2014/main" id="{3170BF8D-467F-4247-8DE0-B47A5BB4EB91}"/>
              </a:ext>
            </a:extLst>
          </p:cNvPr>
          <p:cNvSpPr>
            <a:spLocks noChangeShapeType="1"/>
          </p:cNvSpPr>
          <p:nvPr/>
        </p:nvSpPr>
        <p:spPr bwMode="auto">
          <a:xfrm>
            <a:off x="7947610" y="1919126"/>
            <a:ext cx="52688" cy="52688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99" name="Line 71">
            <a:extLst>
              <a:ext uri="{FF2B5EF4-FFF2-40B4-BE49-F238E27FC236}">
                <a16:creationId xmlns:a16="http://schemas.microsoft.com/office/drawing/2014/main" id="{173E10DC-F655-4819-9384-F320352871DB}"/>
              </a:ext>
            </a:extLst>
          </p:cNvPr>
          <p:cNvSpPr>
            <a:spLocks noChangeShapeType="1"/>
          </p:cNvSpPr>
          <p:nvPr/>
        </p:nvSpPr>
        <p:spPr bwMode="auto">
          <a:xfrm>
            <a:off x="8052986" y="2021992"/>
            <a:ext cx="57705" cy="55197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00" name="Line 72">
            <a:extLst>
              <a:ext uri="{FF2B5EF4-FFF2-40B4-BE49-F238E27FC236}">
                <a16:creationId xmlns:a16="http://schemas.microsoft.com/office/drawing/2014/main" id="{72F0DB35-EA28-43D8-824C-B1D3ADCE6D79}"/>
              </a:ext>
            </a:extLst>
          </p:cNvPr>
          <p:cNvSpPr>
            <a:spLocks noChangeShapeType="1"/>
          </p:cNvSpPr>
          <p:nvPr/>
        </p:nvSpPr>
        <p:spPr bwMode="auto">
          <a:xfrm>
            <a:off x="8160871" y="2129878"/>
            <a:ext cx="52689" cy="52688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01" name="Line 73">
            <a:extLst>
              <a:ext uri="{FF2B5EF4-FFF2-40B4-BE49-F238E27FC236}">
                <a16:creationId xmlns:a16="http://schemas.microsoft.com/office/drawing/2014/main" id="{8DA9ED89-A6D7-4A11-A85B-497B3D0289B3}"/>
              </a:ext>
            </a:extLst>
          </p:cNvPr>
          <p:cNvSpPr>
            <a:spLocks noChangeShapeType="1"/>
          </p:cNvSpPr>
          <p:nvPr/>
        </p:nvSpPr>
        <p:spPr bwMode="auto">
          <a:xfrm>
            <a:off x="8268756" y="2235254"/>
            <a:ext cx="52688" cy="55197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02" name="Line 74">
            <a:extLst>
              <a:ext uri="{FF2B5EF4-FFF2-40B4-BE49-F238E27FC236}">
                <a16:creationId xmlns:a16="http://schemas.microsoft.com/office/drawing/2014/main" id="{69BE590C-D4A7-47EC-B554-D366B442698B}"/>
              </a:ext>
            </a:extLst>
          </p:cNvPr>
          <p:cNvSpPr>
            <a:spLocks noChangeShapeType="1"/>
          </p:cNvSpPr>
          <p:nvPr/>
        </p:nvSpPr>
        <p:spPr bwMode="auto">
          <a:xfrm>
            <a:off x="8374132" y="2343139"/>
            <a:ext cx="57705" cy="52689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03" name="Line 75">
            <a:extLst>
              <a:ext uri="{FF2B5EF4-FFF2-40B4-BE49-F238E27FC236}">
                <a16:creationId xmlns:a16="http://schemas.microsoft.com/office/drawing/2014/main" id="{19101B2A-4AD6-4EE8-9B84-16C39115A4A1}"/>
              </a:ext>
            </a:extLst>
          </p:cNvPr>
          <p:cNvSpPr>
            <a:spLocks noChangeShapeType="1"/>
          </p:cNvSpPr>
          <p:nvPr/>
        </p:nvSpPr>
        <p:spPr bwMode="auto">
          <a:xfrm>
            <a:off x="8444383" y="2466078"/>
            <a:ext cx="2508" cy="75269"/>
          </a:xfrm>
          <a:prstGeom prst="line">
            <a:avLst/>
          </a:prstGeom>
          <a:noFill/>
          <a:ln w="9000" cap="flat">
            <a:solidFill>
              <a:srgbClr val="B9BAB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04" name="Line 76">
            <a:extLst>
              <a:ext uri="{FF2B5EF4-FFF2-40B4-BE49-F238E27FC236}">
                <a16:creationId xmlns:a16="http://schemas.microsoft.com/office/drawing/2014/main" id="{1740F3CF-414B-4E2B-9A06-E473935525E7}"/>
              </a:ext>
            </a:extLst>
          </p:cNvPr>
          <p:cNvSpPr>
            <a:spLocks noChangeShapeType="1"/>
          </p:cNvSpPr>
          <p:nvPr/>
        </p:nvSpPr>
        <p:spPr bwMode="auto">
          <a:xfrm>
            <a:off x="8444383" y="2616616"/>
            <a:ext cx="2508" cy="75269"/>
          </a:xfrm>
          <a:prstGeom prst="line">
            <a:avLst/>
          </a:prstGeom>
          <a:noFill/>
          <a:ln w="9000" cap="flat">
            <a:solidFill>
              <a:srgbClr val="B9BAB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05" name="Line 77">
            <a:extLst>
              <a:ext uri="{FF2B5EF4-FFF2-40B4-BE49-F238E27FC236}">
                <a16:creationId xmlns:a16="http://schemas.microsoft.com/office/drawing/2014/main" id="{40CF6C04-775B-4D82-BD99-E77BEC5CC0BF}"/>
              </a:ext>
            </a:extLst>
          </p:cNvPr>
          <p:cNvSpPr>
            <a:spLocks noChangeShapeType="1"/>
          </p:cNvSpPr>
          <p:nvPr/>
        </p:nvSpPr>
        <p:spPr bwMode="auto">
          <a:xfrm>
            <a:off x="8444383" y="2767153"/>
            <a:ext cx="2508" cy="75269"/>
          </a:xfrm>
          <a:prstGeom prst="line">
            <a:avLst/>
          </a:prstGeom>
          <a:noFill/>
          <a:ln w="9000" cap="flat">
            <a:solidFill>
              <a:srgbClr val="B9BAB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06" name="Line 78">
            <a:extLst>
              <a:ext uri="{FF2B5EF4-FFF2-40B4-BE49-F238E27FC236}">
                <a16:creationId xmlns:a16="http://schemas.microsoft.com/office/drawing/2014/main" id="{A2218411-26CC-4584-A30B-30D70933877E}"/>
              </a:ext>
            </a:extLst>
          </p:cNvPr>
          <p:cNvSpPr>
            <a:spLocks noChangeShapeType="1"/>
          </p:cNvSpPr>
          <p:nvPr/>
        </p:nvSpPr>
        <p:spPr bwMode="auto">
          <a:xfrm>
            <a:off x="8444383" y="2920198"/>
            <a:ext cx="2508" cy="75269"/>
          </a:xfrm>
          <a:prstGeom prst="line">
            <a:avLst/>
          </a:prstGeom>
          <a:noFill/>
          <a:ln w="9000" cap="flat">
            <a:solidFill>
              <a:srgbClr val="B9BAB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07" name="Line 79">
            <a:extLst>
              <a:ext uri="{FF2B5EF4-FFF2-40B4-BE49-F238E27FC236}">
                <a16:creationId xmlns:a16="http://schemas.microsoft.com/office/drawing/2014/main" id="{0C4F76FE-BA5C-4B1E-91E4-504E50CD0C1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594921" y="2955324"/>
            <a:ext cx="2508" cy="80287"/>
          </a:xfrm>
          <a:prstGeom prst="line">
            <a:avLst/>
          </a:prstGeom>
          <a:noFill/>
          <a:ln w="9000" cap="flat">
            <a:solidFill>
              <a:srgbClr val="B9BAB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08" name="Line 80">
            <a:extLst>
              <a:ext uri="{FF2B5EF4-FFF2-40B4-BE49-F238E27FC236}">
                <a16:creationId xmlns:a16="http://schemas.microsoft.com/office/drawing/2014/main" id="{63DE35F6-3798-47EF-867E-12BAD3FFFB3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594921" y="2802278"/>
            <a:ext cx="2508" cy="80287"/>
          </a:xfrm>
          <a:prstGeom prst="line">
            <a:avLst/>
          </a:prstGeom>
          <a:noFill/>
          <a:ln w="9000" cap="flat">
            <a:solidFill>
              <a:srgbClr val="B9BAB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09" name="Line 81">
            <a:extLst>
              <a:ext uri="{FF2B5EF4-FFF2-40B4-BE49-F238E27FC236}">
                <a16:creationId xmlns:a16="http://schemas.microsoft.com/office/drawing/2014/main" id="{AEC4C0E0-3825-41AB-862D-9537BE9432A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594921" y="2654249"/>
            <a:ext cx="2508" cy="80287"/>
          </a:xfrm>
          <a:prstGeom prst="line">
            <a:avLst/>
          </a:prstGeom>
          <a:noFill/>
          <a:ln w="9000" cap="flat">
            <a:solidFill>
              <a:srgbClr val="B9BAB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10" name="Line 82">
            <a:extLst>
              <a:ext uri="{FF2B5EF4-FFF2-40B4-BE49-F238E27FC236}">
                <a16:creationId xmlns:a16="http://schemas.microsoft.com/office/drawing/2014/main" id="{F10DA3C3-775C-4BF8-BC97-3CF7A0F2AF9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594921" y="2501204"/>
            <a:ext cx="2508" cy="80287"/>
          </a:xfrm>
          <a:prstGeom prst="line">
            <a:avLst/>
          </a:prstGeom>
          <a:noFill/>
          <a:ln w="9000" cap="flat">
            <a:solidFill>
              <a:srgbClr val="B9BAB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11" name="Freeform 83">
            <a:extLst>
              <a:ext uri="{FF2B5EF4-FFF2-40B4-BE49-F238E27FC236}">
                <a16:creationId xmlns:a16="http://schemas.microsoft.com/office/drawing/2014/main" id="{F676953E-7BB5-4497-9725-9C1C716118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94921" y="2370738"/>
            <a:ext cx="47670" cy="57705"/>
          </a:xfrm>
          <a:custGeom>
            <a:avLst/>
            <a:gdLst>
              <a:gd name="T0" fmla="*/ 0 w 84"/>
              <a:gd name="T1" fmla="*/ 100 h 101"/>
              <a:gd name="T2" fmla="*/ 0 w 84"/>
              <a:gd name="T3" fmla="*/ 75 h 101"/>
              <a:gd name="T4" fmla="*/ 83 w 84"/>
              <a:gd name="T5" fmla="*/ 0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84" h="101">
                <a:moveTo>
                  <a:pt x="0" y="100"/>
                </a:moveTo>
                <a:lnTo>
                  <a:pt x="0" y="75"/>
                </a:lnTo>
                <a:lnTo>
                  <a:pt x="83" y="0"/>
                </a:lnTo>
              </a:path>
            </a:pathLst>
          </a:cu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12" name="Line 84">
            <a:extLst>
              <a:ext uri="{FF2B5EF4-FFF2-40B4-BE49-F238E27FC236}">
                <a16:creationId xmlns:a16="http://schemas.microsoft.com/office/drawing/2014/main" id="{5C960875-E939-4B17-8E3D-0BC89CB1B35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692769" y="2260344"/>
            <a:ext cx="52689" cy="62723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13" name="Line 85">
            <a:extLst>
              <a:ext uri="{FF2B5EF4-FFF2-40B4-BE49-F238E27FC236}">
                <a16:creationId xmlns:a16="http://schemas.microsoft.com/office/drawing/2014/main" id="{C935864C-94DC-4176-B3AF-AD94D0308F7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803163" y="2154968"/>
            <a:ext cx="52689" cy="57705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14" name="Line 86">
            <a:extLst>
              <a:ext uri="{FF2B5EF4-FFF2-40B4-BE49-F238E27FC236}">
                <a16:creationId xmlns:a16="http://schemas.microsoft.com/office/drawing/2014/main" id="{5E154F10-B0EB-4B02-8870-D97597389B0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906031" y="2047082"/>
            <a:ext cx="55197" cy="57707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15" name="Line 87">
            <a:extLst>
              <a:ext uri="{FF2B5EF4-FFF2-40B4-BE49-F238E27FC236}">
                <a16:creationId xmlns:a16="http://schemas.microsoft.com/office/drawing/2014/main" id="{9501A40B-E72E-4D73-93B2-1E48BA2E241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016425" y="1939198"/>
            <a:ext cx="52688" cy="62723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16" name="Line 88">
            <a:extLst>
              <a:ext uri="{FF2B5EF4-FFF2-40B4-BE49-F238E27FC236}">
                <a16:creationId xmlns:a16="http://schemas.microsoft.com/office/drawing/2014/main" id="{CA606CFA-3C67-40D8-9616-9AC958E76C0B}"/>
              </a:ext>
            </a:extLst>
          </p:cNvPr>
          <p:cNvSpPr>
            <a:spLocks noChangeShapeType="1"/>
          </p:cNvSpPr>
          <p:nvPr/>
        </p:nvSpPr>
        <p:spPr bwMode="auto">
          <a:xfrm>
            <a:off x="9129327" y="1914108"/>
            <a:ext cx="75269" cy="2508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17" name="Line 89">
            <a:extLst>
              <a:ext uri="{FF2B5EF4-FFF2-40B4-BE49-F238E27FC236}">
                <a16:creationId xmlns:a16="http://schemas.microsoft.com/office/drawing/2014/main" id="{299AAD45-F74A-446F-B1FE-1604D0A9E016}"/>
              </a:ext>
            </a:extLst>
          </p:cNvPr>
          <p:cNvSpPr>
            <a:spLocks noChangeShapeType="1"/>
          </p:cNvSpPr>
          <p:nvPr/>
        </p:nvSpPr>
        <p:spPr bwMode="auto">
          <a:xfrm>
            <a:off x="9279864" y="1914108"/>
            <a:ext cx="75269" cy="2508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18" name="Line 90">
            <a:extLst>
              <a:ext uri="{FF2B5EF4-FFF2-40B4-BE49-F238E27FC236}">
                <a16:creationId xmlns:a16="http://schemas.microsoft.com/office/drawing/2014/main" id="{A9993625-2F33-43AB-8EB2-422E5906DEE2}"/>
              </a:ext>
            </a:extLst>
          </p:cNvPr>
          <p:cNvSpPr>
            <a:spLocks noChangeShapeType="1"/>
          </p:cNvSpPr>
          <p:nvPr/>
        </p:nvSpPr>
        <p:spPr bwMode="auto">
          <a:xfrm>
            <a:off x="9430402" y="1914108"/>
            <a:ext cx="75269" cy="2508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19" name="Line 91">
            <a:extLst>
              <a:ext uri="{FF2B5EF4-FFF2-40B4-BE49-F238E27FC236}">
                <a16:creationId xmlns:a16="http://schemas.microsoft.com/office/drawing/2014/main" id="{08F95610-4BD7-4BB6-9678-631AD82BACBC}"/>
              </a:ext>
            </a:extLst>
          </p:cNvPr>
          <p:cNvSpPr>
            <a:spLocks noChangeShapeType="1"/>
          </p:cNvSpPr>
          <p:nvPr/>
        </p:nvSpPr>
        <p:spPr bwMode="auto">
          <a:xfrm>
            <a:off x="9580939" y="1914108"/>
            <a:ext cx="75269" cy="2508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20" name="Line 92">
            <a:extLst>
              <a:ext uri="{FF2B5EF4-FFF2-40B4-BE49-F238E27FC236}">
                <a16:creationId xmlns:a16="http://schemas.microsoft.com/office/drawing/2014/main" id="{865AC8E5-A416-4FA6-9A1E-0F4008FA4FE5}"/>
              </a:ext>
            </a:extLst>
          </p:cNvPr>
          <p:cNvSpPr>
            <a:spLocks noChangeShapeType="1"/>
          </p:cNvSpPr>
          <p:nvPr/>
        </p:nvSpPr>
        <p:spPr bwMode="auto">
          <a:xfrm>
            <a:off x="9731476" y="1914108"/>
            <a:ext cx="75269" cy="2508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21" name="Line 93">
            <a:extLst>
              <a:ext uri="{FF2B5EF4-FFF2-40B4-BE49-F238E27FC236}">
                <a16:creationId xmlns:a16="http://schemas.microsoft.com/office/drawing/2014/main" id="{E24E9355-EDB0-41D8-9B73-19391718056D}"/>
              </a:ext>
            </a:extLst>
          </p:cNvPr>
          <p:cNvSpPr>
            <a:spLocks noChangeShapeType="1"/>
          </p:cNvSpPr>
          <p:nvPr/>
        </p:nvSpPr>
        <p:spPr bwMode="auto">
          <a:xfrm>
            <a:off x="9884523" y="1914108"/>
            <a:ext cx="75269" cy="2508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22" name="Line 94">
            <a:extLst>
              <a:ext uri="{FF2B5EF4-FFF2-40B4-BE49-F238E27FC236}">
                <a16:creationId xmlns:a16="http://schemas.microsoft.com/office/drawing/2014/main" id="{4685C985-1BA3-4265-8D5A-4F0C603C255B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35061" y="1914108"/>
            <a:ext cx="75269" cy="2508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23" name="Line 95">
            <a:extLst>
              <a:ext uri="{FF2B5EF4-FFF2-40B4-BE49-F238E27FC236}">
                <a16:creationId xmlns:a16="http://schemas.microsoft.com/office/drawing/2014/main" id="{085BA707-FD93-435C-8EA6-B4355622F461}"/>
              </a:ext>
            </a:extLst>
          </p:cNvPr>
          <p:cNvSpPr>
            <a:spLocks noChangeShapeType="1"/>
          </p:cNvSpPr>
          <p:nvPr/>
        </p:nvSpPr>
        <p:spPr bwMode="auto">
          <a:xfrm>
            <a:off x="10185598" y="1914108"/>
            <a:ext cx="75269" cy="2508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24" name="Line 96">
            <a:extLst>
              <a:ext uri="{FF2B5EF4-FFF2-40B4-BE49-F238E27FC236}">
                <a16:creationId xmlns:a16="http://schemas.microsoft.com/office/drawing/2014/main" id="{52A69078-8564-4D40-977D-A701421EEF1E}"/>
              </a:ext>
            </a:extLst>
          </p:cNvPr>
          <p:cNvSpPr>
            <a:spLocks noChangeShapeType="1"/>
          </p:cNvSpPr>
          <p:nvPr/>
        </p:nvSpPr>
        <p:spPr bwMode="auto">
          <a:xfrm>
            <a:off x="10336135" y="1919126"/>
            <a:ext cx="55197" cy="52688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25" name="Line 97">
            <a:extLst>
              <a:ext uri="{FF2B5EF4-FFF2-40B4-BE49-F238E27FC236}">
                <a16:creationId xmlns:a16="http://schemas.microsoft.com/office/drawing/2014/main" id="{9048F1F8-4F75-4F3F-80D1-54A0353E0986}"/>
              </a:ext>
            </a:extLst>
          </p:cNvPr>
          <p:cNvSpPr>
            <a:spLocks noChangeShapeType="1"/>
          </p:cNvSpPr>
          <p:nvPr/>
        </p:nvSpPr>
        <p:spPr bwMode="auto">
          <a:xfrm>
            <a:off x="10446529" y="2021992"/>
            <a:ext cx="52688" cy="55197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26" name="Line 98">
            <a:extLst>
              <a:ext uri="{FF2B5EF4-FFF2-40B4-BE49-F238E27FC236}">
                <a16:creationId xmlns:a16="http://schemas.microsoft.com/office/drawing/2014/main" id="{5F4D7953-5D28-4B0F-9847-6215D927E2C2}"/>
              </a:ext>
            </a:extLst>
          </p:cNvPr>
          <p:cNvSpPr>
            <a:spLocks noChangeShapeType="1"/>
          </p:cNvSpPr>
          <p:nvPr/>
        </p:nvSpPr>
        <p:spPr bwMode="auto">
          <a:xfrm>
            <a:off x="10549396" y="2129878"/>
            <a:ext cx="57707" cy="52688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27" name="Line 99">
            <a:extLst>
              <a:ext uri="{FF2B5EF4-FFF2-40B4-BE49-F238E27FC236}">
                <a16:creationId xmlns:a16="http://schemas.microsoft.com/office/drawing/2014/main" id="{52024ABC-27D6-45B6-A48E-A78B8525F7A2}"/>
              </a:ext>
            </a:extLst>
          </p:cNvPr>
          <p:cNvSpPr>
            <a:spLocks noChangeShapeType="1"/>
          </p:cNvSpPr>
          <p:nvPr/>
        </p:nvSpPr>
        <p:spPr bwMode="auto">
          <a:xfrm>
            <a:off x="10657282" y="2235254"/>
            <a:ext cx="52688" cy="55197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28" name="Line 100">
            <a:extLst>
              <a:ext uri="{FF2B5EF4-FFF2-40B4-BE49-F238E27FC236}">
                <a16:creationId xmlns:a16="http://schemas.microsoft.com/office/drawing/2014/main" id="{8194B32C-A47F-4793-B664-0AECEF1B3D87}"/>
              </a:ext>
            </a:extLst>
          </p:cNvPr>
          <p:cNvSpPr>
            <a:spLocks noChangeShapeType="1"/>
          </p:cNvSpPr>
          <p:nvPr/>
        </p:nvSpPr>
        <p:spPr bwMode="auto">
          <a:xfrm>
            <a:off x="10767676" y="2343139"/>
            <a:ext cx="52688" cy="52689"/>
          </a:xfrm>
          <a:prstGeom prst="line">
            <a:avLst/>
          </a:prstGeom>
          <a:noFill/>
          <a:ln w="900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29" name="Line 101">
            <a:extLst>
              <a:ext uri="{FF2B5EF4-FFF2-40B4-BE49-F238E27FC236}">
                <a16:creationId xmlns:a16="http://schemas.microsoft.com/office/drawing/2014/main" id="{9C15F7B1-4035-4482-B486-04DE793B6363}"/>
              </a:ext>
            </a:extLst>
          </p:cNvPr>
          <p:cNvSpPr>
            <a:spLocks noChangeShapeType="1"/>
          </p:cNvSpPr>
          <p:nvPr/>
        </p:nvSpPr>
        <p:spPr bwMode="auto">
          <a:xfrm>
            <a:off x="10837926" y="2466078"/>
            <a:ext cx="2508" cy="75269"/>
          </a:xfrm>
          <a:prstGeom prst="line">
            <a:avLst/>
          </a:prstGeom>
          <a:noFill/>
          <a:ln w="9000" cap="flat">
            <a:solidFill>
              <a:srgbClr val="B9BAB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30" name="Line 102">
            <a:extLst>
              <a:ext uri="{FF2B5EF4-FFF2-40B4-BE49-F238E27FC236}">
                <a16:creationId xmlns:a16="http://schemas.microsoft.com/office/drawing/2014/main" id="{B25C0D93-4F49-4C0C-9B85-224DD6F44630}"/>
              </a:ext>
            </a:extLst>
          </p:cNvPr>
          <p:cNvSpPr>
            <a:spLocks noChangeShapeType="1"/>
          </p:cNvSpPr>
          <p:nvPr/>
        </p:nvSpPr>
        <p:spPr bwMode="auto">
          <a:xfrm>
            <a:off x="10837926" y="2616616"/>
            <a:ext cx="2508" cy="75269"/>
          </a:xfrm>
          <a:prstGeom prst="line">
            <a:avLst/>
          </a:prstGeom>
          <a:noFill/>
          <a:ln w="9000" cap="flat">
            <a:solidFill>
              <a:srgbClr val="B9BAB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31" name="Line 103">
            <a:extLst>
              <a:ext uri="{FF2B5EF4-FFF2-40B4-BE49-F238E27FC236}">
                <a16:creationId xmlns:a16="http://schemas.microsoft.com/office/drawing/2014/main" id="{9D105D88-D897-47D3-9884-34F38F468ECC}"/>
              </a:ext>
            </a:extLst>
          </p:cNvPr>
          <p:cNvSpPr>
            <a:spLocks noChangeShapeType="1"/>
          </p:cNvSpPr>
          <p:nvPr/>
        </p:nvSpPr>
        <p:spPr bwMode="auto">
          <a:xfrm>
            <a:off x="10837926" y="2767153"/>
            <a:ext cx="2508" cy="75269"/>
          </a:xfrm>
          <a:prstGeom prst="line">
            <a:avLst/>
          </a:prstGeom>
          <a:noFill/>
          <a:ln w="9000" cap="flat">
            <a:solidFill>
              <a:srgbClr val="B9BAB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32" name="Line 104">
            <a:extLst>
              <a:ext uri="{FF2B5EF4-FFF2-40B4-BE49-F238E27FC236}">
                <a16:creationId xmlns:a16="http://schemas.microsoft.com/office/drawing/2014/main" id="{1842829C-395F-4F3D-857A-DC64C6C0ADCB}"/>
              </a:ext>
            </a:extLst>
          </p:cNvPr>
          <p:cNvSpPr>
            <a:spLocks noChangeShapeType="1"/>
          </p:cNvSpPr>
          <p:nvPr/>
        </p:nvSpPr>
        <p:spPr bwMode="auto">
          <a:xfrm>
            <a:off x="10837926" y="2920198"/>
            <a:ext cx="2508" cy="75269"/>
          </a:xfrm>
          <a:prstGeom prst="line">
            <a:avLst/>
          </a:prstGeom>
          <a:noFill/>
          <a:ln w="9000" cap="flat">
            <a:solidFill>
              <a:srgbClr val="B9BAB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33" name="Line 273">
            <a:extLst>
              <a:ext uri="{FF2B5EF4-FFF2-40B4-BE49-F238E27FC236}">
                <a16:creationId xmlns:a16="http://schemas.microsoft.com/office/drawing/2014/main" id="{8EB8BABA-12A0-48E7-9F01-5EB218DE1C2A}"/>
              </a:ext>
            </a:extLst>
          </p:cNvPr>
          <p:cNvSpPr>
            <a:spLocks noChangeShapeType="1"/>
          </p:cNvSpPr>
          <p:nvPr/>
        </p:nvSpPr>
        <p:spPr bwMode="auto">
          <a:xfrm>
            <a:off x="8461945" y="3045646"/>
            <a:ext cx="2510" cy="75269"/>
          </a:xfrm>
          <a:prstGeom prst="line">
            <a:avLst/>
          </a:prstGeom>
          <a:noFill/>
          <a:ln w="14760" cap="flat">
            <a:solidFill>
              <a:srgbClr val="B9BAB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34" name="Line 274">
            <a:extLst>
              <a:ext uri="{FF2B5EF4-FFF2-40B4-BE49-F238E27FC236}">
                <a16:creationId xmlns:a16="http://schemas.microsoft.com/office/drawing/2014/main" id="{35DF4A35-D462-45CF-8513-2DACDBFCF800}"/>
              </a:ext>
            </a:extLst>
          </p:cNvPr>
          <p:cNvSpPr>
            <a:spLocks noChangeShapeType="1"/>
          </p:cNvSpPr>
          <p:nvPr/>
        </p:nvSpPr>
        <p:spPr bwMode="auto">
          <a:xfrm>
            <a:off x="8461945" y="3196183"/>
            <a:ext cx="2510" cy="75269"/>
          </a:xfrm>
          <a:prstGeom prst="line">
            <a:avLst/>
          </a:prstGeom>
          <a:noFill/>
          <a:ln w="14760" cap="flat">
            <a:solidFill>
              <a:srgbClr val="B9BAB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35" name="Line 275">
            <a:extLst>
              <a:ext uri="{FF2B5EF4-FFF2-40B4-BE49-F238E27FC236}">
                <a16:creationId xmlns:a16="http://schemas.microsoft.com/office/drawing/2014/main" id="{EFB6C9AD-BB82-44F6-B253-427E028BFFBB}"/>
              </a:ext>
            </a:extLst>
          </p:cNvPr>
          <p:cNvSpPr>
            <a:spLocks noChangeShapeType="1"/>
          </p:cNvSpPr>
          <p:nvPr/>
        </p:nvSpPr>
        <p:spPr bwMode="auto">
          <a:xfrm>
            <a:off x="8461945" y="3349230"/>
            <a:ext cx="2510" cy="75269"/>
          </a:xfrm>
          <a:prstGeom prst="line">
            <a:avLst/>
          </a:prstGeom>
          <a:noFill/>
          <a:ln w="14760" cap="flat">
            <a:solidFill>
              <a:srgbClr val="B9BAB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36" name="Line 276">
            <a:extLst>
              <a:ext uri="{FF2B5EF4-FFF2-40B4-BE49-F238E27FC236}">
                <a16:creationId xmlns:a16="http://schemas.microsoft.com/office/drawing/2014/main" id="{5AFB5007-55F1-43DD-9253-97AD828EADE2}"/>
              </a:ext>
            </a:extLst>
          </p:cNvPr>
          <p:cNvSpPr>
            <a:spLocks noChangeShapeType="1"/>
          </p:cNvSpPr>
          <p:nvPr/>
        </p:nvSpPr>
        <p:spPr bwMode="auto">
          <a:xfrm>
            <a:off x="8461945" y="3499768"/>
            <a:ext cx="2510" cy="75269"/>
          </a:xfrm>
          <a:prstGeom prst="line">
            <a:avLst/>
          </a:prstGeom>
          <a:noFill/>
          <a:ln w="1476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37" name="Line 277">
            <a:extLst>
              <a:ext uri="{FF2B5EF4-FFF2-40B4-BE49-F238E27FC236}">
                <a16:creationId xmlns:a16="http://schemas.microsoft.com/office/drawing/2014/main" id="{6B939AEA-4A3E-46E2-9C5D-3A7D880BA652}"/>
              </a:ext>
            </a:extLst>
          </p:cNvPr>
          <p:cNvSpPr>
            <a:spLocks noChangeShapeType="1"/>
          </p:cNvSpPr>
          <p:nvPr/>
        </p:nvSpPr>
        <p:spPr bwMode="auto">
          <a:xfrm>
            <a:off x="8461945" y="3650305"/>
            <a:ext cx="2510" cy="75269"/>
          </a:xfrm>
          <a:prstGeom prst="line">
            <a:avLst/>
          </a:prstGeom>
          <a:noFill/>
          <a:ln w="1476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38" name="Line 278">
            <a:extLst>
              <a:ext uri="{FF2B5EF4-FFF2-40B4-BE49-F238E27FC236}">
                <a16:creationId xmlns:a16="http://schemas.microsoft.com/office/drawing/2014/main" id="{CE36CCCD-459C-4F22-BB06-8E4D3CEC6EE4}"/>
              </a:ext>
            </a:extLst>
          </p:cNvPr>
          <p:cNvSpPr>
            <a:spLocks noChangeShapeType="1"/>
          </p:cNvSpPr>
          <p:nvPr/>
        </p:nvSpPr>
        <p:spPr bwMode="auto">
          <a:xfrm>
            <a:off x="8461945" y="3800842"/>
            <a:ext cx="2510" cy="75269"/>
          </a:xfrm>
          <a:prstGeom prst="line">
            <a:avLst/>
          </a:prstGeom>
          <a:noFill/>
          <a:ln w="1476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39" name="Line 279">
            <a:extLst>
              <a:ext uri="{FF2B5EF4-FFF2-40B4-BE49-F238E27FC236}">
                <a16:creationId xmlns:a16="http://schemas.microsoft.com/office/drawing/2014/main" id="{2C53E539-C98C-4A09-84A3-C29975828A39}"/>
              </a:ext>
            </a:extLst>
          </p:cNvPr>
          <p:cNvSpPr>
            <a:spLocks noChangeShapeType="1"/>
          </p:cNvSpPr>
          <p:nvPr/>
        </p:nvSpPr>
        <p:spPr bwMode="auto">
          <a:xfrm>
            <a:off x="8461945" y="3953888"/>
            <a:ext cx="2510" cy="75269"/>
          </a:xfrm>
          <a:prstGeom prst="line">
            <a:avLst/>
          </a:prstGeom>
          <a:noFill/>
          <a:ln w="1476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40" name="Line 280">
            <a:extLst>
              <a:ext uri="{FF2B5EF4-FFF2-40B4-BE49-F238E27FC236}">
                <a16:creationId xmlns:a16="http://schemas.microsoft.com/office/drawing/2014/main" id="{0913F3CC-7EF3-433E-90D5-74608BBC12D0}"/>
              </a:ext>
            </a:extLst>
          </p:cNvPr>
          <p:cNvSpPr>
            <a:spLocks noChangeShapeType="1"/>
          </p:cNvSpPr>
          <p:nvPr/>
        </p:nvSpPr>
        <p:spPr bwMode="auto">
          <a:xfrm>
            <a:off x="8461945" y="4104425"/>
            <a:ext cx="2510" cy="75269"/>
          </a:xfrm>
          <a:prstGeom prst="line">
            <a:avLst/>
          </a:prstGeom>
          <a:noFill/>
          <a:ln w="1476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41" name="Line 281">
            <a:extLst>
              <a:ext uri="{FF2B5EF4-FFF2-40B4-BE49-F238E27FC236}">
                <a16:creationId xmlns:a16="http://schemas.microsoft.com/office/drawing/2014/main" id="{268A5E05-8925-4903-9B5C-8879ECF76BFA}"/>
              </a:ext>
            </a:extLst>
          </p:cNvPr>
          <p:cNvSpPr>
            <a:spLocks noChangeShapeType="1"/>
          </p:cNvSpPr>
          <p:nvPr/>
        </p:nvSpPr>
        <p:spPr bwMode="auto">
          <a:xfrm>
            <a:off x="8461945" y="4254962"/>
            <a:ext cx="2510" cy="75269"/>
          </a:xfrm>
          <a:prstGeom prst="line">
            <a:avLst/>
          </a:prstGeom>
          <a:noFill/>
          <a:ln w="1476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42" name="Line 282">
            <a:extLst>
              <a:ext uri="{FF2B5EF4-FFF2-40B4-BE49-F238E27FC236}">
                <a16:creationId xmlns:a16="http://schemas.microsoft.com/office/drawing/2014/main" id="{626EFBA2-9CA7-42B2-9BEB-63E40662A057}"/>
              </a:ext>
            </a:extLst>
          </p:cNvPr>
          <p:cNvSpPr>
            <a:spLocks noChangeShapeType="1"/>
          </p:cNvSpPr>
          <p:nvPr/>
        </p:nvSpPr>
        <p:spPr bwMode="auto">
          <a:xfrm>
            <a:off x="13228042" y="4265346"/>
            <a:ext cx="2510" cy="42653"/>
          </a:xfrm>
          <a:prstGeom prst="line">
            <a:avLst/>
          </a:prstGeom>
          <a:noFill/>
          <a:ln w="1476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43" name="Freeform 324">
            <a:extLst>
              <a:ext uri="{FF2B5EF4-FFF2-40B4-BE49-F238E27FC236}">
                <a16:creationId xmlns:a16="http://schemas.microsoft.com/office/drawing/2014/main" id="{CB20B410-B7A3-49E9-A454-C6F0CC6D98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7288" y="2443497"/>
            <a:ext cx="1209317" cy="1209317"/>
          </a:xfrm>
          <a:custGeom>
            <a:avLst/>
            <a:gdLst>
              <a:gd name="T0" fmla="*/ 2124 w 2125"/>
              <a:gd name="T1" fmla="*/ 1061 h 2124"/>
              <a:gd name="T2" fmla="*/ 2124 w 2125"/>
              <a:gd name="T3" fmla="*/ 1061 h 2124"/>
              <a:gd name="T4" fmla="*/ 1062 w 2125"/>
              <a:gd name="T5" fmla="*/ 2123 h 2124"/>
              <a:gd name="T6" fmla="*/ 0 w 2125"/>
              <a:gd name="T7" fmla="*/ 1061 h 2124"/>
              <a:gd name="T8" fmla="*/ 1062 w 2125"/>
              <a:gd name="T9" fmla="*/ 0 h 2124"/>
              <a:gd name="T10" fmla="*/ 2124 w 2125"/>
              <a:gd name="T11" fmla="*/ 1061 h 2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125" h="2124">
                <a:moveTo>
                  <a:pt x="2124" y="1061"/>
                </a:moveTo>
                <a:lnTo>
                  <a:pt x="2124" y="1061"/>
                </a:lnTo>
                <a:cubicBezTo>
                  <a:pt x="2124" y="1650"/>
                  <a:pt x="1651" y="2123"/>
                  <a:pt x="1062" y="2123"/>
                </a:cubicBezTo>
                <a:cubicBezTo>
                  <a:pt x="473" y="2123"/>
                  <a:pt x="0" y="1650"/>
                  <a:pt x="0" y="1061"/>
                </a:cubicBezTo>
                <a:cubicBezTo>
                  <a:pt x="0" y="481"/>
                  <a:pt x="473" y="0"/>
                  <a:pt x="1062" y="0"/>
                </a:cubicBezTo>
                <a:cubicBezTo>
                  <a:pt x="1651" y="0"/>
                  <a:pt x="2124" y="481"/>
                  <a:pt x="2124" y="1061"/>
                </a:cubicBezTo>
              </a:path>
            </a:pathLst>
          </a:custGeom>
          <a:solidFill>
            <a:srgbClr val="62A39F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46" name="Line 327">
            <a:extLst>
              <a:ext uri="{FF2B5EF4-FFF2-40B4-BE49-F238E27FC236}">
                <a16:creationId xmlns:a16="http://schemas.microsoft.com/office/drawing/2014/main" id="{37B1FD4F-97A2-443C-A282-A02AD7E5D953}"/>
              </a:ext>
            </a:extLst>
          </p:cNvPr>
          <p:cNvSpPr>
            <a:spLocks noChangeShapeType="1"/>
          </p:cNvSpPr>
          <p:nvPr/>
        </p:nvSpPr>
        <p:spPr bwMode="auto">
          <a:xfrm>
            <a:off x="1364112" y="3045646"/>
            <a:ext cx="2508" cy="75269"/>
          </a:xfrm>
          <a:prstGeom prst="line">
            <a:avLst/>
          </a:prstGeom>
          <a:noFill/>
          <a:ln w="14760" cap="flat">
            <a:solidFill>
              <a:srgbClr val="B9BAB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47" name="Line 328">
            <a:extLst>
              <a:ext uri="{FF2B5EF4-FFF2-40B4-BE49-F238E27FC236}">
                <a16:creationId xmlns:a16="http://schemas.microsoft.com/office/drawing/2014/main" id="{46FFDB4E-84D9-4084-9307-CC58B7D894B1}"/>
              </a:ext>
            </a:extLst>
          </p:cNvPr>
          <p:cNvSpPr>
            <a:spLocks noChangeShapeType="1"/>
          </p:cNvSpPr>
          <p:nvPr/>
        </p:nvSpPr>
        <p:spPr bwMode="auto">
          <a:xfrm>
            <a:off x="1364112" y="3196183"/>
            <a:ext cx="2508" cy="75269"/>
          </a:xfrm>
          <a:prstGeom prst="line">
            <a:avLst/>
          </a:prstGeom>
          <a:noFill/>
          <a:ln w="14760" cap="flat">
            <a:solidFill>
              <a:srgbClr val="B9BAB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48" name="Line 329">
            <a:extLst>
              <a:ext uri="{FF2B5EF4-FFF2-40B4-BE49-F238E27FC236}">
                <a16:creationId xmlns:a16="http://schemas.microsoft.com/office/drawing/2014/main" id="{CDEECC6E-B3B7-4E2C-A8C3-F07EDE578548}"/>
              </a:ext>
            </a:extLst>
          </p:cNvPr>
          <p:cNvSpPr>
            <a:spLocks noChangeShapeType="1"/>
          </p:cNvSpPr>
          <p:nvPr/>
        </p:nvSpPr>
        <p:spPr bwMode="auto">
          <a:xfrm>
            <a:off x="1364112" y="3349230"/>
            <a:ext cx="2508" cy="75269"/>
          </a:xfrm>
          <a:prstGeom prst="line">
            <a:avLst/>
          </a:prstGeom>
          <a:noFill/>
          <a:ln w="14760" cap="flat">
            <a:solidFill>
              <a:srgbClr val="B9BAB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49" name="Line 330">
            <a:extLst>
              <a:ext uri="{FF2B5EF4-FFF2-40B4-BE49-F238E27FC236}">
                <a16:creationId xmlns:a16="http://schemas.microsoft.com/office/drawing/2014/main" id="{2156FB38-F89B-4027-A455-A14D3F436AA9}"/>
              </a:ext>
            </a:extLst>
          </p:cNvPr>
          <p:cNvSpPr>
            <a:spLocks noChangeShapeType="1"/>
          </p:cNvSpPr>
          <p:nvPr/>
        </p:nvSpPr>
        <p:spPr bwMode="auto">
          <a:xfrm>
            <a:off x="1364112" y="3499768"/>
            <a:ext cx="2508" cy="75269"/>
          </a:xfrm>
          <a:prstGeom prst="line">
            <a:avLst/>
          </a:prstGeom>
          <a:noFill/>
          <a:ln w="1476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0" name="Line 331">
            <a:extLst>
              <a:ext uri="{FF2B5EF4-FFF2-40B4-BE49-F238E27FC236}">
                <a16:creationId xmlns:a16="http://schemas.microsoft.com/office/drawing/2014/main" id="{D7F3DF7B-0553-4EBC-976C-B4592173E3C0}"/>
              </a:ext>
            </a:extLst>
          </p:cNvPr>
          <p:cNvSpPr>
            <a:spLocks noChangeShapeType="1"/>
          </p:cNvSpPr>
          <p:nvPr/>
        </p:nvSpPr>
        <p:spPr bwMode="auto">
          <a:xfrm>
            <a:off x="1364112" y="3650305"/>
            <a:ext cx="2508" cy="75269"/>
          </a:xfrm>
          <a:prstGeom prst="line">
            <a:avLst/>
          </a:prstGeom>
          <a:noFill/>
          <a:ln w="1476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1" name="Line 332">
            <a:extLst>
              <a:ext uri="{FF2B5EF4-FFF2-40B4-BE49-F238E27FC236}">
                <a16:creationId xmlns:a16="http://schemas.microsoft.com/office/drawing/2014/main" id="{D8FAE3E9-CDFA-4ED3-9BEE-D2D6BFA1D22E}"/>
              </a:ext>
            </a:extLst>
          </p:cNvPr>
          <p:cNvSpPr>
            <a:spLocks noChangeShapeType="1"/>
          </p:cNvSpPr>
          <p:nvPr/>
        </p:nvSpPr>
        <p:spPr bwMode="auto">
          <a:xfrm>
            <a:off x="1364112" y="3800842"/>
            <a:ext cx="2508" cy="75269"/>
          </a:xfrm>
          <a:prstGeom prst="line">
            <a:avLst/>
          </a:prstGeom>
          <a:noFill/>
          <a:ln w="1476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2" name="Line 333">
            <a:extLst>
              <a:ext uri="{FF2B5EF4-FFF2-40B4-BE49-F238E27FC236}">
                <a16:creationId xmlns:a16="http://schemas.microsoft.com/office/drawing/2014/main" id="{E599EB97-BAD0-471C-9C47-A4E89E2FA5E0}"/>
              </a:ext>
            </a:extLst>
          </p:cNvPr>
          <p:cNvSpPr>
            <a:spLocks noChangeShapeType="1"/>
          </p:cNvSpPr>
          <p:nvPr/>
        </p:nvSpPr>
        <p:spPr bwMode="auto">
          <a:xfrm>
            <a:off x="1364035" y="3953888"/>
            <a:ext cx="2662" cy="75269"/>
          </a:xfrm>
          <a:prstGeom prst="line">
            <a:avLst/>
          </a:prstGeom>
          <a:noFill/>
          <a:ln w="1476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3" name="Line 334">
            <a:extLst>
              <a:ext uri="{FF2B5EF4-FFF2-40B4-BE49-F238E27FC236}">
                <a16:creationId xmlns:a16="http://schemas.microsoft.com/office/drawing/2014/main" id="{C8AF03A5-ACDF-4764-B218-1B7851CAAC4E}"/>
              </a:ext>
            </a:extLst>
          </p:cNvPr>
          <p:cNvSpPr>
            <a:spLocks noChangeShapeType="1"/>
          </p:cNvSpPr>
          <p:nvPr/>
        </p:nvSpPr>
        <p:spPr bwMode="auto">
          <a:xfrm>
            <a:off x="1364035" y="4104425"/>
            <a:ext cx="2662" cy="75269"/>
          </a:xfrm>
          <a:prstGeom prst="line">
            <a:avLst/>
          </a:prstGeom>
          <a:noFill/>
          <a:ln w="1476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4" name="Line 335">
            <a:extLst>
              <a:ext uri="{FF2B5EF4-FFF2-40B4-BE49-F238E27FC236}">
                <a16:creationId xmlns:a16="http://schemas.microsoft.com/office/drawing/2014/main" id="{A373C53E-5E97-413B-B611-5C91C81F3BDB}"/>
              </a:ext>
            </a:extLst>
          </p:cNvPr>
          <p:cNvSpPr>
            <a:spLocks noChangeShapeType="1"/>
          </p:cNvSpPr>
          <p:nvPr/>
        </p:nvSpPr>
        <p:spPr bwMode="auto">
          <a:xfrm>
            <a:off x="1364035" y="4254962"/>
            <a:ext cx="2662" cy="75269"/>
          </a:xfrm>
          <a:prstGeom prst="line">
            <a:avLst/>
          </a:prstGeom>
          <a:noFill/>
          <a:ln w="1476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5" name="Line 336">
            <a:extLst>
              <a:ext uri="{FF2B5EF4-FFF2-40B4-BE49-F238E27FC236}">
                <a16:creationId xmlns:a16="http://schemas.microsoft.com/office/drawing/2014/main" id="{D620A1B6-B795-4DB1-A1E2-25EE691CD01D}"/>
              </a:ext>
            </a:extLst>
          </p:cNvPr>
          <p:cNvSpPr>
            <a:spLocks noChangeShapeType="1"/>
          </p:cNvSpPr>
          <p:nvPr/>
        </p:nvSpPr>
        <p:spPr bwMode="auto">
          <a:xfrm>
            <a:off x="1364035" y="4265346"/>
            <a:ext cx="2662" cy="42653"/>
          </a:xfrm>
          <a:prstGeom prst="line">
            <a:avLst/>
          </a:prstGeom>
          <a:noFill/>
          <a:ln w="1476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6" name="Freeform 375">
            <a:extLst>
              <a:ext uri="{FF2B5EF4-FFF2-40B4-BE49-F238E27FC236}">
                <a16:creationId xmlns:a16="http://schemas.microsoft.com/office/drawing/2014/main" id="{B6597761-93B3-4CF5-B28C-0677569AD8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9453" y="2443497"/>
            <a:ext cx="1209317" cy="1209317"/>
          </a:xfrm>
          <a:custGeom>
            <a:avLst/>
            <a:gdLst>
              <a:gd name="T0" fmla="*/ 2124 w 2125"/>
              <a:gd name="T1" fmla="*/ 1061 h 2124"/>
              <a:gd name="T2" fmla="*/ 2124 w 2125"/>
              <a:gd name="T3" fmla="*/ 1061 h 2124"/>
              <a:gd name="T4" fmla="*/ 1062 w 2125"/>
              <a:gd name="T5" fmla="*/ 2123 h 2124"/>
              <a:gd name="T6" fmla="*/ 0 w 2125"/>
              <a:gd name="T7" fmla="*/ 1061 h 2124"/>
              <a:gd name="T8" fmla="*/ 1062 w 2125"/>
              <a:gd name="T9" fmla="*/ 0 h 2124"/>
              <a:gd name="T10" fmla="*/ 2124 w 2125"/>
              <a:gd name="T11" fmla="*/ 1061 h 2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125" h="2124">
                <a:moveTo>
                  <a:pt x="2124" y="1061"/>
                </a:moveTo>
                <a:lnTo>
                  <a:pt x="2124" y="1061"/>
                </a:lnTo>
                <a:cubicBezTo>
                  <a:pt x="2124" y="1650"/>
                  <a:pt x="1651" y="2123"/>
                  <a:pt x="1062" y="2123"/>
                </a:cubicBezTo>
                <a:cubicBezTo>
                  <a:pt x="473" y="2123"/>
                  <a:pt x="0" y="1650"/>
                  <a:pt x="0" y="1061"/>
                </a:cubicBezTo>
                <a:cubicBezTo>
                  <a:pt x="0" y="481"/>
                  <a:pt x="473" y="0"/>
                  <a:pt x="1062" y="0"/>
                </a:cubicBezTo>
                <a:cubicBezTo>
                  <a:pt x="1651" y="0"/>
                  <a:pt x="2124" y="481"/>
                  <a:pt x="2124" y="1061"/>
                </a:cubicBezTo>
              </a:path>
            </a:pathLst>
          </a:custGeom>
          <a:solidFill>
            <a:srgbClr val="1CADE4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61" name="Line 380">
            <a:extLst>
              <a:ext uri="{FF2B5EF4-FFF2-40B4-BE49-F238E27FC236}">
                <a16:creationId xmlns:a16="http://schemas.microsoft.com/office/drawing/2014/main" id="{7B03311A-76D8-4402-8D61-630607204AC8}"/>
              </a:ext>
            </a:extLst>
          </p:cNvPr>
          <p:cNvSpPr>
            <a:spLocks noChangeShapeType="1"/>
          </p:cNvSpPr>
          <p:nvPr/>
        </p:nvSpPr>
        <p:spPr bwMode="auto">
          <a:xfrm>
            <a:off x="3727548" y="3045646"/>
            <a:ext cx="2508" cy="75269"/>
          </a:xfrm>
          <a:prstGeom prst="line">
            <a:avLst/>
          </a:prstGeom>
          <a:noFill/>
          <a:ln w="14760" cap="flat">
            <a:solidFill>
              <a:srgbClr val="B9BAB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62" name="Line 381">
            <a:extLst>
              <a:ext uri="{FF2B5EF4-FFF2-40B4-BE49-F238E27FC236}">
                <a16:creationId xmlns:a16="http://schemas.microsoft.com/office/drawing/2014/main" id="{1DE30C37-D8D1-492E-AE0F-178868106E21}"/>
              </a:ext>
            </a:extLst>
          </p:cNvPr>
          <p:cNvSpPr>
            <a:spLocks noChangeShapeType="1"/>
          </p:cNvSpPr>
          <p:nvPr/>
        </p:nvSpPr>
        <p:spPr bwMode="auto">
          <a:xfrm>
            <a:off x="3727548" y="3196183"/>
            <a:ext cx="2508" cy="75269"/>
          </a:xfrm>
          <a:prstGeom prst="line">
            <a:avLst/>
          </a:prstGeom>
          <a:noFill/>
          <a:ln w="14760" cap="flat">
            <a:solidFill>
              <a:srgbClr val="B9BAB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63" name="Line 382">
            <a:extLst>
              <a:ext uri="{FF2B5EF4-FFF2-40B4-BE49-F238E27FC236}">
                <a16:creationId xmlns:a16="http://schemas.microsoft.com/office/drawing/2014/main" id="{B51ECD05-C563-49D8-8BF3-CB9C0859AC3D}"/>
              </a:ext>
            </a:extLst>
          </p:cNvPr>
          <p:cNvSpPr>
            <a:spLocks noChangeShapeType="1"/>
          </p:cNvSpPr>
          <p:nvPr/>
        </p:nvSpPr>
        <p:spPr bwMode="auto">
          <a:xfrm>
            <a:off x="3727548" y="3349230"/>
            <a:ext cx="2508" cy="75269"/>
          </a:xfrm>
          <a:prstGeom prst="line">
            <a:avLst/>
          </a:prstGeom>
          <a:noFill/>
          <a:ln w="14760" cap="flat">
            <a:solidFill>
              <a:srgbClr val="B9BAB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64" name="Line 383">
            <a:extLst>
              <a:ext uri="{FF2B5EF4-FFF2-40B4-BE49-F238E27FC236}">
                <a16:creationId xmlns:a16="http://schemas.microsoft.com/office/drawing/2014/main" id="{19D38ECF-D323-4A97-88C7-502E221A8F74}"/>
              </a:ext>
            </a:extLst>
          </p:cNvPr>
          <p:cNvSpPr>
            <a:spLocks noChangeShapeType="1"/>
          </p:cNvSpPr>
          <p:nvPr/>
        </p:nvSpPr>
        <p:spPr bwMode="auto">
          <a:xfrm>
            <a:off x="3727548" y="3499768"/>
            <a:ext cx="2508" cy="75269"/>
          </a:xfrm>
          <a:prstGeom prst="line">
            <a:avLst/>
          </a:prstGeom>
          <a:noFill/>
          <a:ln w="1476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65" name="Line 384">
            <a:extLst>
              <a:ext uri="{FF2B5EF4-FFF2-40B4-BE49-F238E27FC236}">
                <a16:creationId xmlns:a16="http://schemas.microsoft.com/office/drawing/2014/main" id="{0858201F-DB30-43BA-9230-9F9ACFCAF853}"/>
              </a:ext>
            </a:extLst>
          </p:cNvPr>
          <p:cNvSpPr>
            <a:spLocks noChangeShapeType="1"/>
          </p:cNvSpPr>
          <p:nvPr/>
        </p:nvSpPr>
        <p:spPr bwMode="auto">
          <a:xfrm>
            <a:off x="3727548" y="3650305"/>
            <a:ext cx="2508" cy="75269"/>
          </a:xfrm>
          <a:prstGeom prst="line">
            <a:avLst/>
          </a:prstGeom>
          <a:noFill/>
          <a:ln w="1476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66" name="Line 385">
            <a:extLst>
              <a:ext uri="{FF2B5EF4-FFF2-40B4-BE49-F238E27FC236}">
                <a16:creationId xmlns:a16="http://schemas.microsoft.com/office/drawing/2014/main" id="{82E534AC-2095-4B38-85CF-B96DB00F53E6}"/>
              </a:ext>
            </a:extLst>
          </p:cNvPr>
          <p:cNvSpPr>
            <a:spLocks noChangeShapeType="1"/>
          </p:cNvSpPr>
          <p:nvPr/>
        </p:nvSpPr>
        <p:spPr bwMode="auto">
          <a:xfrm>
            <a:off x="3727548" y="3800842"/>
            <a:ext cx="2508" cy="75269"/>
          </a:xfrm>
          <a:prstGeom prst="line">
            <a:avLst/>
          </a:prstGeom>
          <a:noFill/>
          <a:ln w="1476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67" name="Line 386">
            <a:extLst>
              <a:ext uri="{FF2B5EF4-FFF2-40B4-BE49-F238E27FC236}">
                <a16:creationId xmlns:a16="http://schemas.microsoft.com/office/drawing/2014/main" id="{8BE87B1B-C86C-47C5-8673-14649C0C109F}"/>
              </a:ext>
            </a:extLst>
          </p:cNvPr>
          <p:cNvSpPr>
            <a:spLocks noChangeShapeType="1"/>
          </p:cNvSpPr>
          <p:nvPr/>
        </p:nvSpPr>
        <p:spPr bwMode="auto">
          <a:xfrm>
            <a:off x="3727548" y="3953888"/>
            <a:ext cx="2508" cy="75269"/>
          </a:xfrm>
          <a:prstGeom prst="line">
            <a:avLst/>
          </a:prstGeom>
          <a:noFill/>
          <a:ln w="1476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68" name="Line 387">
            <a:extLst>
              <a:ext uri="{FF2B5EF4-FFF2-40B4-BE49-F238E27FC236}">
                <a16:creationId xmlns:a16="http://schemas.microsoft.com/office/drawing/2014/main" id="{FF13B726-50B2-4220-B4EE-10E7C2A49EFA}"/>
              </a:ext>
            </a:extLst>
          </p:cNvPr>
          <p:cNvSpPr>
            <a:spLocks noChangeShapeType="1"/>
          </p:cNvSpPr>
          <p:nvPr/>
        </p:nvSpPr>
        <p:spPr bwMode="auto">
          <a:xfrm>
            <a:off x="3727548" y="4104425"/>
            <a:ext cx="2508" cy="75269"/>
          </a:xfrm>
          <a:prstGeom prst="line">
            <a:avLst/>
          </a:prstGeom>
          <a:noFill/>
          <a:ln w="1476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69" name="Line 388">
            <a:extLst>
              <a:ext uri="{FF2B5EF4-FFF2-40B4-BE49-F238E27FC236}">
                <a16:creationId xmlns:a16="http://schemas.microsoft.com/office/drawing/2014/main" id="{50FD9806-8F50-4216-A44E-6B7072EAA4A8}"/>
              </a:ext>
            </a:extLst>
          </p:cNvPr>
          <p:cNvSpPr>
            <a:spLocks noChangeShapeType="1"/>
          </p:cNvSpPr>
          <p:nvPr/>
        </p:nvSpPr>
        <p:spPr bwMode="auto">
          <a:xfrm>
            <a:off x="3727548" y="4254962"/>
            <a:ext cx="2508" cy="75269"/>
          </a:xfrm>
          <a:prstGeom prst="line">
            <a:avLst/>
          </a:prstGeom>
          <a:noFill/>
          <a:ln w="1476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70" name="Line 389">
            <a:extLst>
              <a:ext uri="{FF2B5EF4-FFF2-40B4-BE49-F238E27FC236}">
                <a16:creationId xmlns:a16="http://schemas.microsoft.com/office/drawing/2014/main" id="{BC95428E-95AF-4020-9B66-16C7C3865E6A}"/>
              </a:ext>
            </a:extLst>
          </p:cNvPr>
          <p:cNvSpPr>
            <a:spLocks noChangeShapeType="1"/>
          </p:cNvSpPr>
          <p:nvPr/>
        </p:nvSpPr>
        <p:spPr bwMode="auto">
          <a:xfrm>
            <a:off x="3727548" y="4265346"/>
            <a:ext cx="2508" cy="42653"/>
          </a:xfrm>
          <a:prstGeom prst="line">
            <a:avLst/>
          </a:prstGeom>
          <a:noFill/>
          <a:ln w="1476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71" name="Freeform 426">
            <a:extLst>
              <a:ext uri="{FF2B5EF4-FFF2-40B4-BE49-F238E27FC236}">
                <a16:creationId xmlns:a16="http://schemas.microsoft.com/office/drawing/2014/main" id="{1172F969-7C86-49C0-B0C9-3832161D38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25399" y="2443497"/>
            <a:ext cx="1209317" cy="1209317"/>
          </a:xfrm>
          <a:custGeom>
            <a:avLst/>
            <a:gdLst>
              <a:gd name="T0" fmla="*/ 2124 w 2125"/>
              <a:gd name="T1" fmla="*/ 1061 h 2124"/>
              <a:gd name="T2" fmla="*/ 2124 w 2125"/>
              <a:gd name="T3" fmla="*/ 1061 h 2124"/>
              <a:gd name="T4" fmla="*/ 1062 w 2125"/>
              <a:gd name="T5" fmla="*/ 2123 h 2124"/>
              <a:gd name="T6" fmla="*/ 0 w 2125"/>
              <a:gd name="T7" fmla="*/ 1061 h 2124"/>
              <a:gd name="T8" fmla="*/ 1062 w 2125"/>
              <a:gd name="T9" fmla="*/ 0 h 2124"/>
              <a:gd name="T10" fmla="*/ 2124 w 2125"/>
              <a:gd name="T11" fmla="*/ 1061 h 2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125" h="2124">
                <a:moveTo>
                  <a:pt x="2124" y="1061"/>
                </a:moveTo>
                <a:lnTo>
                  <a:pt x="2124" y="1061"/>
                </a:lnTo>
                <a:cubicBezTo>
                  <a:pt x="2124" y="1650"/>
                  <a:pt x="1651" y="2123"/>
                  <a:pt x="1062" y="2123"/>
                </a:cubicBezTo>
                <a:cubicBezTo>
                  <a:pt x="481" y="2123"/>
                  <a:pt x="0" y="1650"/>
                  <a:pt x="0" y="1061"/>
                </a:cubicBezTo>
                <a:cubicBezTo>
                  <a:pt x="0" y="481"/>
                  <a:pt x="481" y="0"/>
                  <a:pt x="1062" y="0"/>
                </a:cubicBezTo>
                <a:cubicBezTo>
                  <a:pt x="1651" y="0"/>
                  <a:pt x="2124" y="481"/>
                  <a:pt x="2124" y="1061"/>
                </a:cubicBezTo>
              </a:path>
            </a:pathLst>
          </a:custGeom>
          <a:solidFill>
            <a:srgbClr val="2683C6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76" name="Line 431">
            <a:extLst>
              <a:ext uri="{FF2B5EF4-FFF2-40B4-BE49-F238E27FC236}">
                <a16:creationId xmlns:a16="http://schemas.microsoft.com/office/drawing/2014/main" id="{8D2AA899-989B-4426-981B-7BA499A09CC2}"/>
              </a:ext>
            </a:extLst>
          </p:cNvPr>
          <p:cNvSpPr>
            <a:spLocks noChangeShapeType="1"/>
          </p:cNvSpPr>
          <p:nvPr/>
        </p:nvSpPr>
        <p:spPr bwMode="auto">
          <a:xfrm>
            <a:off x="10827891" y="3045646"/>
            <a:ext cx="2508" cy="75269"/>
          </a:xfrm>
          <a:prstGeom prst="line">
            <a:avLst/>
          </a:prstGeom>
          <a:noFill/>
          <a:ln w="14760" cap="flat">
            <a:solidFill>
              <a:srgbClr val="B9BAB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77" name="Line 432">
            <a:extLst>
              <a:ext uri="{FF2B5EF4-FFF2-40B4-BE49-F238E27FC236}">
                <a16:creationId xmlns:a16="http://schemas.microsoft.com/office/drawing/2014/main" id="{734CF591-2F19-40CF-8960-5C98F76AC13C}"/>
              </a:ext>
            </a:extLst>
          </p:cNvPr>
          <p:cNvSpPr>
            <a:spLocks noChangeShapeType="1"/>
          </p:cNvSpPr>
          <p:nvPr/>
        </p:nvSpPr>
        <p:spPr bwMode="auto">
          <a:xfrm>
            <a:off x="10827891" y="3196183"/>
            <a:ext cx="2508" cy="75269"/>
          </a:xfrm>
          <a:prstGeom prst="line">
            <a:avLst/>
          </a:prstGeom>
          <a:noFill/>
          <a:ln w="14760" cap="flat">
            <a:solidFill>
              <a:srgbClr val="B9BAB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78" name="Line 433">
            <a:extLst>
              <a:ext uri="{FF2B5EF4-FFF2-40B4-BE49-F238E27FC236}">
                <a16:creationId xmlns:a16="http://schemas.microsoft.com/office/drawing/2014/main" id="{81500E04-5CCC-43B1-910A-D26B8FC2D2A3}"/>
              </a:ext>
            </a:extLst>
          </p:cNvPr>
          <p:cNvSpPr>
            <a:spLocks noChangeShapeType="1"/>
          </p:cNvSpPr>
          <p:nvPr/>
        </p:nvSpPr>
        <p:spPr bwMode="auto">
          <a:xfrm>
            <a:off x="10827891" y="3349230"/>
            <a:ext cx="2508" cy="75269"/>
          </a:xfrm>
          <a:prstGeom prst="line">
            <a:avLst/>
          </a:prstGeom>
          <a:noFill/>
          <a:ln w="14760" cap="flat">
            <a:solidFill>
              <a:srgbClr val="B9BAB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79" name="Line 434">
            <a:extLst>
              <a:ext uri="{FF2B5EF4-FFF2-40B4-BE49-F238E27FC236}">
                <a16:creationId xmlns:a16="http://schemas.microsoft.com/office/drawing/2014/main" id="{386172D4-B46F-492F-BD9A-C09848BAA89F}"/>
              </a:ext>
            </a:extLst>
          </p:cNvPr>
          <p:cNvSpPr>
            <a:spLocks noChangeShapeType="1"/>
          </p:cNvSpPr>
          <p:nvPr/>
        </p:nvSpPr>
        <p:spPr bwMode="auto">
          <a:xfrm>
            <a:off x="10827891" y="3499768"/>
            <a:ext cx="2508" cy="75269"/>
          </a:xfrm>
          <a:prstGeom prst="line">
            <a:avLst/>
          </a:prstGeom>
          <a:noFill/>
          <a:ln w="1476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80" name="Line 435">
            <a:extLst>
              <a:ext uri="{FF2B5EF4-FFF2-40B4-BE49-F238E27FC236}">
                <a16:creationId xmlns:a16="http://schemas.microsoft.com/office/drawing/2014/main" id="{5EF17AA2-4033-4FED-B766-9946E4268735}"/>
              </a:ext>
            </a:extLst>
          </p:cNvPr>
          <p:cNvSpPr>
            <a:spLocks noChangeShapeType="1"/>
          </p:cNvSpPr>
          <p:nvPr/>
        </p:nvSpPr>
        <p:spPr bwMode="auto">
          <a:xfrm>
            <a:off x="10827891" y="3650305"/>
            <a:ext cx="2508" cy="75269"/>
          </a:xfrm>
          <a:prstGeom prst="line">
            <a:avLst/>
          </a:prstGeom>
          <a:noFill/>
          <a:ln w="1476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81" name="Line 436">
            <a:extLst>
              <a:ext uri="{FF2B5EF4-FFF2-40B4-BE49-F238E27FC236}">
                <a16:creationId xmlns:a16="http://schemas.microsoft.com/office/drawing/2014/main" id="{C5020724-B9D0-422A-B8B7-CE6B333BDCBA}"/>
              </a:ext>
            </a:extLst>
          </p:cNvPr>
          <p:cNvSpPr>
            <a:spLocks noChangeShapeType="1"/>
          </p:cNvSpPr>
          <p:nvPr/>
        </p:nvSpPr>
        <p:spPr bwMode="auto">
          <a:xfrm>
            <a:off x="10827891" y="3800842"/>
            <a:ext cx="2508" cy="75269"/>
          </a:xfrm>
          <a:prstGeom prst="line">
            <a:avLst/>
          </a:prstGeom>
          <a:noFill/>
          <a:ln w="1476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82" name="Line 437">
            <a:extLst>
              <a:ext uri="{FF2B5EF4-FFF2-40B4-BE49-F238E27FC236}">
                <a16:creationId xmlns:a16="http://schemas.microsoft.com/office/drawing/2014/main" id="{62E4624F-5091-4B16-95A7-536850BBF337}"/>
              </a:ext>
            </a:extLst>
          </p:cNvPr>
          <p:cNvSpPr>
            <a:spLocks noChangeShapeType="1"/>
          </p:cNvSpPr>
          <p:nvPr/>
        </p:nvSpPr>
        <p:spPr bwMode="auto">
          <a:xfrm>
            <a:off x="10827891" y="3953888"/>
            <a:ext cx="2508" cy="75269"/>
          </a:xfrm>
          <a:prstGeom prst="line">
            <a:avLst/>
          </a:prstGeom>
          <a:noFill/>
          <a:ln w="1476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83" name="Line 438">
            <a:extLst>
              <a:ext uri="{FF2B5EF4-FFF2-40B4-BE49-F238E27FC236}">
                <a16:creationId xmlns:a16="http://schemas.microsoft.com/office/drawing/2014/main" id="{7D65F25A-3611-4D9D-B3AF-18AB6DC8958A}"/>
              </a:ext>
            </a:extLst>
          </p:cNvPr>
          <p:cNvSpPr>
            <a:spLocks noChangeShapeType="1"/>
          </p:cNvSpPr>
          <p:nvPr/>
        </p:nvSpPr>
        <p:spPr bwMode="auto">
          <a:xfrm>
            <a:off x="10827891" y="4104425"/>
            <a:ext cx="2508" cy="75269"/>
          </a:xfrm>
          <a:prstGeom prst="line">
            <a:avLst/>
          </a:prstGeom>
          <a:noFill/>
          <a:ln w="1476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84" name="Line 439">
            <a:extLst>
              <a:ext uri="{FF2B5EF4-FFF2-40B4-BE49-F238E27FC236}">
                <a16:creationId xmlns:a16="http://schemas.microsoft.com/office/drawing/2014/main" id="{092C649F-EAB3-4738-8802-5B3BE17A4CAF}"/>
              </a:ext>
            </a:extLst>
          </p:cNvPr>
          <p:cNvSpPr>
            <a:spLocks noChangeShapeType="1"/>
          </p:cNvSpPr>
          <p:nvPr/>
        </p:nvSpPr>
        <p:spPr bwMode="auto">
          <a:xfrm>
            <a:off x="10827891" y="4254962"/>
            <a:ext cx="2508" cy="75269"/>
          </a:xfrm>
          <a:prstGeom prst="line">
            <a:avLst/>
          </a:prstGeom>
          <a:noFill/>
          <a:ln w="1476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85" name="Line 440">
            <a:extLst>
              <a:ext uri="{FF2B5EF4-FFF2-40B4-BE49-F238E27FC236}">
                <a16:creationId xmlns:a16="http://schemas.microsoft.com/office/drawing/2014/main" id="{2A38E515-CEC4-4DB5-9977-94C2D4C18CCB}"/>
              </a:ext>
            </a:extLst>
          </p:cNvPr>
          <p:cNvSpPr>
            <a:spLocks noChangeShapeType="1"/>
          </p:cNvSpPr>
          <p:nvPr/>
        </p:nvSpPr>
        <p:spPr bwMode="auto">
          <a:xfrm>
            <a:off x="10827891" y="4265346"/>
            <a:ext cx="2508" cy="42653"/>
          </a:xfrm>
          <a:prstGeom prst="line">
            <a:avLst/>
          </a:prstGeom>
          <a:noFill/>
          <a:ln w="1476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86" name="Freeform 479">
            <a:extLst>
              <a:ext uri="{FF2B5EF4-FFF2-40B4-BE49-F238E27FC236}">
                <a16:creationId xmlns:a16="http://schemas.microsoft.com/office/drawing/2014/main" id="{839FD4E9-3057-4AE8-BE36-798C9EF15E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10688" y="2443497"/>
            <a:ext cx="1209317" cy="1209317"/>
          </a:xfrm>
          <a:custGeom>
            <a:avLst/>
            <a:gdLst>
              <a:gd name="T0" fmla="*/ 2124 w 2125"/>
              <a:gd name="T1" fmla="*/ 1061 h 2124"/>
              <a:gd name="T2" fmla="*/ 2124 w 2125"/>
              <a:gd name="T3" fmla="*/ 1061 h 2124"/>
              <a:gd name="T4" fmla="*/ 1062 w 2125"/>
              <a:gd name="T5" fmla="*/ 2123 h 2124"/>
              <a:gd name="T6" fmla="*/ 0 w 2125"/>
              <a:gd name="T7" fmla="*/ 1061 h 2124"/>
              <a:gd name="T8" fmla="*/ 1062 w 2125"/>
              <a:gd name="T9" fmla="*/ 0 h 2124"/>
              <a:gd name="T10" fmla="*/ 2124 w 2125"/>
              <a:gd name="T11" fmla="*/ 1061 h 2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125" h="2124">
                <a:moveTo>
                  <a:pt x="2124" y="1061"/>
                </a:moveTo>
                <a:lnTo>
                  <a:pt x="2124" y="1061"/>
                </a:lnTo>
                <a:cubicBezTo>
                  <a:pt x="2124" y="1650"/>
                  <a:pt x="1651" y="2123"/>
                  <a:pt x="1062" y="2123"/>
                </a:cubicBezTo>
                <a:cubicBezTo>
                  <a:pt x="473" y="2123"/>
                  <a:pt x="0" y="1650"/>
                  <a:pt x="0" y="1061"/>
                </a:cubicBezTo>
                <a:cubicBezTo>
                  <a:pt x="0" y="481"/>
                  <a:pt x="473" y="0"/>
                  <a:pt x="1062" y="0"/>
                </a:cubicBezTo>
                <a:cubicBezTo>
                  <a:pt x="1651" y="0"/>
                  <a:pt x="2124" y="481"/>
                  <a:pt x="2124" y="1061"/>
                </a:cubicBezTo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89" name="Line 482">
            <a:extLst>
              <a:ext uri="{FF2B5EF4-FFF2-40B4-BE49-F238E27FC236}">
                <a16:creationId xmlns:a16="http://schemas.microsoft.com/office/drawing/2014/main" id="{9C789092-692D-4909-8386-AA734449B1E2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8509" y="3045646"/>
            <a:ext cx="2510" cy="75269"/>
          </a:xfrm>
          <a:prstGeom prst="line">
            <a:avLst/>
          </a:prstGeom>
          <a:noFill/>
          <a:ln w="14760" cap="flat">
            <a:solidFill>
              <a:srgbClr val="B9BAB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0" name="Line 483">
            <a:extLst>
              <a:ext uri="{FF2B5EF4-FFF2-40B4-BE49-F238E27FC236}">
                <a16:creationId xmlns:a16="http://schemas.microsoft.com/office/drawing/2014/main" id="{5C034812-6B27-4B9E-9237-07991FF8947C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8509" y="3196183"/>
            <a:ext cx="2510" cy="75269"/>
          </a:xfrm>
          <a:prstGeom prst="line">
            <a:avLst/>
          </a:prstGeom>
          <a:noFill/>
          <a:ln w="14760" cap="flat">
            <a:solidFill>
              <a:srgbClr val="B9BAB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1" name="Line 484">
            <a:extLst>
              <a:ext uri="{FF2B5EF4-FFF2-40B4-BE49-F238E27FC236}">
                <a16:creationId xmlns:a16="http://schemas.microsoft.com/office/drawing/2014/main" id="{9469CF50-A6BF-4381-A97C-AF4709DADABE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8509" y="3349230"/>
            <a:ext cx="2510" cy="75269"/>
          </a:xfrm>
          <a:prstGeom prst="line">
            <a:avLst/>
          </a:prstGeom>
          <a:noFill/>
          <a:ln w="14760" cap="flat">
            <a:solidFill>
              <a:srgbClr val="B9BAB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2" name="Line 485">
            <a:extLst>
              <a:ext uri="{FF2B5EF4-FFF2-40B4-BE49-F238E27FC236}">
                <a16:creationId xmlns:a16="http://schemas.microsoft.com/office/drawing/2014/main" id="{A9B202B9-A7FC-426E-89E6-2BEB4830DCF8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8509" y="3499768"/>
            <a:ext cx="2510" cy="75269"/>
          </a:xfrm>
          <a:prstGeom prst="line">
            <a:avLst/>
          </a:prstGeom>
          <a:noFill/>
          <a:ln w="1476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3" name="Line 486">
            <a:extLst>
              <a:ext uri="{FF2B5EF4-FFF2-40B4-BE49-F238E27FC236}">
                <a16:creationId xmlns:a16="http://schemas.microsoft.com/office/drawing/2014/main" id="{74F10A71-D50B-4565-B0A6-6EDB2B80ABAC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8509" y="3650305"/>
            <a:ext cx="2510" cy="75269"/>
          </a:xfrm>
          <a:prstGeom prst="line">
            <a:avLst/>
          </a:prstGeom>
          <a:noFill/>
          <a:ln w="1476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4" name="Line 487">
            <a:extLst>
              <a:ext uri="{FF2B5EF4-FFF2-40B4-BE49-F238E27FC236}">
                <a16:creationId xmlns:a16="http://schemas.microsoft.com/office/drawing/2014/main" id="{639B9243-D5B7-4A72-8C1B-ADB34D386470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8509" y="3800842"/>
            <a:ext cx="2510" cy="75269"/>
          </a:xfrm>
          <a:prstGeom prst="line">
            <a:avLst/>
          </a:prstGeom>
          <a:noFill/>
          <a:ln w="1476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5" name="Line 488">
            <a:extLst>
              <a:ext uri="{FF2B5EF4-FFF2-40B4-BE49-F238E27FC236}">
                <a16:creationId xmlns:a16="http://schemas.microsoft.com/office/drawing/2014/main" id="{8476E170-E6E4-4DBF-87A7-CC9254CFC467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8509" y="3953888"/>
            <a:ext cx="2510" cy="75269"/>
          </a:xfrm>
          <a:prstGeom prst="line">
            <a:avLst/>
          </a:prstGeom>
          <a:noFill/>
          <a:ln w="1476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6" name="Line 489">
            <a:extLst>
              <a:ext uri="{FF2B5EF4-FFF2-40B4-BE49-F238E27FC236}">
                <a16:creationId xmlns:a16="http://schemas.microsoft.com/office/drawing/2014/main" id="{01CA04A5-164F-488A-8F1B-EA42D26C56D1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8509" y="4104425"/>
            <a:ext cx="2510" cy="75269"/>
          </a:xfrm>
          <a:prstGeom prst="line">
            <a:avLst/>
          </a:prstGeom>
          <a:noFill/>
          <a:ln w="1476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7" name="Line 490">
            <a:extLst>
              <a:ext uri="{FF2B5EF4-FFF2-40B4-BE49-F238E27FC236}">
                <a16:creationId xmlns:a16="http://schemas.microsoft.com/office/drawing/2014/main" id="{EAF4EC79-7761-44D4-BF5C-FC876A1E6DBA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8509" y="4254962"/>
            <a:ext cx="2510" cy="75269"/>
          </a:xfrm>
          <a:prstGeom prst="line">
            <a:avLst/>
          </a:prstGeom>
          <a:noFill/>
          <a:ln w="1476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8" name="Line 491">
            <a:extLst>
              <a:ext uri="{FF2B5EF4-FFF2-40B4-BE49-F238E27FC236}">
                <a16:creationId xmlns:a16="http://schemas.microsoft.com/office/drawing/2014/main" id="{856A9EC9-B74D-4697-B7D0-973EABE45317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8509" y="4265346"/>
            <a:ext cx="2510" cy="42653"/>
          </a:xfrm>
          <a:prstGeom prst="line">
            <a:avLst/>
          </a:prstGeom>
          <a:noFill/>
          <a:ln w="14760" cap="flat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pSp>
        <p:nvGrpSpPr>
          <p:cNvPr id="201" name="Agrupar 585">
            <a:extLst>
              <a:ext uri="{FF2B5EF4-FFF2-40B4-BE49-F238E27FC236}">
                <a16:creationId xmlns:a16="http://schemas.microsoft.com/office/drawing/2014/main" id="{D8917A9A-CD81-46A5-B577-329FAE520676}"/>
              </a:ext>
            </a:extLst>
          </p:cNvPr>
          <p:cNvGrpSpPr/>
          <p:nvPr/>
        </p:nvGrpSpPr>
        <p:grpSpPr>
          <a:xfrm>
            <a:off x="398893" y="4397418"/>
            <a:ext cx="1951268" cy="1165240"/>
            <a:chOff x="1509356" y="9066591"/>
            <a:chExt cx="3676366" cy="2330480"/>
          </a:xfrm>
        </p:grpSpPr>
        <p:sp>
          <p:nvSpPr>
            <p:cNvPr id="202" name="CuadroTexto 586">
              <a:extLst>
                <a:ext uri="{FF2B5EF4-FFF2-40B4-BE49-F238E27FC236}">
                  <a16:creationId xmlns:a16="http://schemas.microsoft.com/office/drawing/2014/main" id="{6C6ACAD0-DA33-4219-8EBC-8E08E274F3F4}"/>
                </a:ext>
              </a:extLst>
            </p:cNvPr>
            <p:cNvSpPr txBox="1"/>
            <p:nvPr/>
          </p:nvSpPr>
          <p:spPr>
            <a:xfrm>
              <a:off x="2135370" y="9066591"/>
              <a:ext cx="238267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30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rPr>
                <a:t>RENHOLD</a:t>
              </a:r>
            </a:p>
          </p:txBody>
        </p:sp>
        <p:sp>
          <p:nvSpPr>
            <p:cNvPr id="203" name="Rectángulo 587">
              <a:extLst>
                <a:ext uri="{FF2B5EF4-FFF2-40B4-BE49-F238E27FC236}">
                  <a16:creationId xmlns:a16="http://schemas.microsoft.com/office/drawing/2014/main" id="{7EAF8F68-3A4D-429E-8787-157231028600}"/>
                </a:ext>
              </a:extLst>
            </p:cNvPr>
            <p:cNvSpPr/>
            <p:nvPr/>
          </p:nvSpPr>
          <p:spPr>
            <a:xfrm>
              <a:off x="1509356" y="9704299"/>
              <a:ext cx="3676366" cy="169277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2286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1200" cap="none" spc="30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rPr>
                <a:t>Daglig renhold</a:t>
              </a:r>
            </a:p>
            <a:p>
              <a:pPr marL="0" marR="0" lvl="0" indent="0" algn="ctr" defTabSz="2286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1200" cap="none" spc="30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rPr>
                <a:t>Periodisk renhold</a:t>
              </a:r>
            </a:p>
            <a:p>
              <a:pPr marL="0" marR="0" lvl="0" indent="0" algn="ctr" defTabSz="2286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1200" cap="none" spc="30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rPr>
                <a:t>Matteservice</a:t>
              </a:r>
              <a:endParaRPr kumimoji="0" lang="nb-NO" sz="1400" b="0" i="0" u="none" strike="noStrike" kern="1200" cap="none" spc="3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04" name="Agrupar 588">
            <a:extLst>
              <a:ext uri="{FF2B5EF4-FFF2-40B4-BE49-F238E27FC236}">
                <a16:creationId xmlns:a16="http://schemas.microsoft.com/office/drawing/2014/main" id="{B71B9A32-5ED6-4546-962E-D2A98AD88FC2}"/>
              </a:ext>
            </a:extLst>
          </p:cNvPr>
          <p:cNvGrpSpPr/>
          <p:nvPr/>
        </p:nvGrpSpPr>
        <p:grpSpPr>
          <a:xfrm>
            <a:off x="2751564" y="4397418"/>
            <a:ext cx="1999595" cy="2034708"/>
            <a:chOff x="1374738" y="9066591"/>
            <a:chExt cx="3999190" cy="4069415"/>
          </a:xfrm>
        </p:grpSpPr>
        <p:sp>
          <p:nvSpPr>
            <p:cNvPr id="205" name="CuadroTexto 589">
              <a:extLst>
                <a:ext uri="{FF2B5EF4-FFF2-40B4-BE49-F238E27FC236}">
                  <a16:creationId xmlns:a16="http://schemas.microsoft.com/office/drawing/2014/main" id="{BE1FEECE-2D95-43A3-B889-D556F3B04239}"/>
                </a:ext>
              </a:extLst>
            </p:cNvPr>
            <p:cNvSpPr txBox="1"/>
            <p:nvPr/>
          </p:nvSpPr>
          <p:spPr>
            <a:xfrm>
              <a:off x="1374738" y="9066591"/>
              <a:ext cx="399919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30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rPr>
                <a:t>MAT &amp; DRIKKE</a:t>
              </a:r>
            </a:p>
          </p:txBody>
        </p:sp>
        <p:sp>
          <p:nvSpPr>
            <p:cNvPr id="206" name="Rectángulo 590">
              <a:extLst>
                <a:ext uri="{FF2B5EF4-FFF2-40B4-BE49-F238E27FC236}">
                  <a16:creationId xmlns:a16="http://schemas.microsoft.com/office/drawing/2014/main" id="{FE2CB61F-CC1A-432E-82FB-D3EDA2029E68}"/>
                </a:ext>
              </a:extLst>
            </p:cNvPr>
            <p:cNvSpPr/>
            <p:nvPr/>
          </p:nvSpPr>
          <p:spPr>
            <a:xfrm>
              <a:off x="1509358" y="9704299"/>
              <a:ext cx="3634696" cy="34317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2286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1200" cap="none" spc="30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rPr>
                <a:t>Frokostservering</a:t>
              </a:r>
            </a:p>
            <a:p>
              <a:pPr marL="0" marR="0" lvl="0" indent="0" algn="ctr" defTabSz="2286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1200" cap="none" spc="30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rPr>
                <a:t>Lunchservering</a:t>
              </a:r>
              <a:endParaRPr kumimoji="0" lang="nb-NO" sz="1100" b="0" i="0" u="none" strike="noStrike" kern="1200" cap="none" spc="3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  <a:p>
              <a:pPr marL="0" marR="0" lvl="0" indent="0" algn="ctr" defTabSz="2286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1200" cap="none" spc="30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rPr>
                <a:t>Overtidsmat</a:t>
              </a:r>
            </a:p>
            <a:p>
              <a:pPr marL="0" marR="0" lvl="0" indent="0" algn="ctr" defTabSz="2286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1200" cap="none" spc="30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rPr>
                <a:t>Møtemat</a:t>
              </a:r>
            </a:p>
            <a:p>
              <a:pPr marL="0" marR="0" lvl="0" indent="0" algn="ctr" defTabSz="2286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1200" cap="none" spc="30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rPr>
                <a:t>Selskapsmat</a:t>
              </a:r>
            </a:p>
            <a:p>
              <a:pPr marL="0" marR="0" lvl="0" indent="0" algn="ctr" defTabSz="2286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1200" cap="none" spc="30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rPr>
                <a:t>Kaffemaskiner</a:t>
              </a:r>
            </a:p>
            <a:p>
              <a:pPr marL="0" marR="0" lvl="0" indent="0" algn="ctr" defTabSz="2286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1200" cap="none" spc="30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rPr>
                <a:t>Kaffebar</a:t>
              </a:r>
            </a:p>
            <a:p>
              <a:pPr marL="0" marR="0" lvl="0" indent="0" algn="ctr" defTabSz="2286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1200" cap="none" spc="30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rPr>
                <a:t>Frukt</a:t>
              </a:r>
              <a:endParaRPr kumimoji="0" lang="en-US" sz="1100" b="0" i="0" u="none" strike="noStrike" kern="1200" cap="none" spc="3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07" name="Agrupar 591">
            <a:extLst>
              <a:ext uri="{FF2B5EF4-FFF2-40B4-BE49-F238E27FC236}">
                <a16:creationId xmlns:a16="http://schemas.microsoft.com/office/drawing/2014/main" id="{07C0CC58-4075-473A-B31A-3BFCE841A314}"/>
              </a:ext>
            </a:extLst>
          </p:cNvPr>
          <p:cNvGrpSpPr/>
          <p:nvPr/>
        </p:nvGrpSpPr>
        <p:grpSpPr>
          <a:xfrm>
            <a:off x="5043785" y="4397418"/>
            <a:ext cx="2123630" cy="1826959"/>
            <a:chOff x="1217258" y="9066591"/>
            <a:chExt cx="4247260" cy="3653917"/>
          </a:xfrm>
        </p:grpSpPr>
        <p:sp>
          <p:nvSpPr>
            <p:cNvPr id="208" name="CuadroTexto 592">
              <a:extLst>
                <a:ext uri="{FF2B5EF4-FFF2-40B4-BE49-F238E27FC236}">
                  <a16:creationId xmlns:a16="http://schemas.microsoft.com/office/drawing/2014/main" id="{A7A8753B-885E-4D53-BAB8-6099BC06DF8E}"/>
                </a:ext>
              </a:extLst>
            </p:cNvPr>
            <p:cNvSpPr txBox="1"/>
            <p:nvPr/>
          </p:nvSpPr>
          <p:spPr>
            <a:xfrm>
              <a:off x="1313842" y="9066591"/>
              <a:ext cx="415067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30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rPr>
                <a:t>SERVICETJENESTER</a:t>
              </a:r>
            </a:p>
          </p:txBody>
        </p:sp>
        <p:sp>
          <p:nvSpPr>
            <p:cNvPr id="209" name="Rectángulo 593">
              <a:extLst>
                <a:ext uri="{FF2B5EF4-FFF2-40B4-BE49-F238E27FC236}">
                  <a16:creationId xmlns:a16="http://schemas.microsoft.com/office/drawing/2014/main" id="{B772B748-2403-46C7-8323-F0D40820A363}"/>
                </a:ext>
              </a:extLst>
            </p:cNvPr>
            <p:cNvSpPr/>
            <p:nvPr/>
          </p:nvSpPr>
          <p:spPr>
            <a:xfrm>
              <a:off x="1217258" y="9704299"/>
              <a:ext cx="4155696" cy="301620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2286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1200" cap="none" spc="30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rPr>
                <a:t>Resepsjon</a:t>
              </a:r>
            </a:p>
            <a:p>
              <a:pPr marL="0" marR="0" lvl="0" indent="0" algn="ctr" defTabSz="2286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1200" cap="none" spc="30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rPr>
                <a:t>Sentralbord</a:t>
              </a:r>
            </a:p>
            <a:p>
              <a:pPr marL="0" marR="0" lvl="0" indent="0" algn="ctr" defTabSz="2286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1200" cap="none" spc="30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rPr>
                <a:t>Servicedesk</a:t>
              </a:r>
            </a:p>
            <a:p>
              <a:pPr marL="0" marR="0" lvl="0" indent="0" algn="ctr" defTabSz="2286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1200" cap="none" spc="30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rPr>
                <a:t>Møterom</a:t>
              </a:r>
            </a:p>
            <a:p>
              <a:pPr marL="0" marR="0" lvl="0" indent="0" algn="ctr" defTabSz="2286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1200" cap="none" spc="30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rPr>
                <a:t>Kontorrekvisita</a:t>
              </a:r>
            </a:p>
            <a:p>
              <a:pPr marL="0" marR="0" lvl="0" indent="0" algn="ctr" defTabSz="2286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1200" cap="none" spc="30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rPr>
                <a:t>Planteservice</a:t>
              </a:r>
            </a:p>
            <a:p>
              <a:pPr marL="0" marR="0" lvl="0" indent="0" algn="ctr" defTabSz="2286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1200" cap="none" spc="30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rPr>
                <a:t>Posttjenester</a:t>
              </a:r>
            </a:p>
          </p:txBody>
        </p:sp>
      </p:grpSp>
      <p:grpSp>
        <p:nvGrpSpPr>
          <p:cNvPr id="210" name="Agrupar 594">
            <a:extLst>
              <a:ext uri="{FF2B5EF4-FFF2-40B4-BE49-F238E27FC236}">
                <a16:creationId xmlns:a16="http://schemas.microsoft.com/office/drawing/2014/main" id="{B239E521-3E41-4758-8CBE-F19DD0DA6B2B}"/>
              </a:ext>
            </a:extLst>
          </p:cNvPr>
          <p:cNvGrpSpPr/>
          <p:nvPr/>
        </p:nvGrpSpPr>
        <p:grpSpPr>
          <a:xfrm>
            <a:off x="9743992" y="4397418"/>
            <a:ext cx="2152293" cy="1788487"/>
            <a:chOff x="1174414" y="9066591"/>
            <a:chExt cx="4304586" cy="3576974"/>
          </a:xfrm>
        </p:grpSpPr>
        <p:sp>
          <p:nvSpPr>
            <p:cNvPr id="211" name="CuadroTexto 595">
              <a:extLst>
                <a:ext uri="{FF2B5EF4-FFF2-40B4-BE49-F238E27FC236}">
                  <a16:creationId xmlns:a16="http://schemas.microsoft.com/office/drawing/2014/main" id="{B9F4132A-2D08-473E-BC0A-8E76B4BE208A}"/>
                </a:ext>
              </a:extLst>
            </p:cNvPr>
            <p:cNvSpPr txBox="1"/>
            <p:nvPr/>
          </p:nvSpPr>
          <p:spPr>
            <a:xfrm>
              <a:off x="2075610" y="9066591"/>
              <a:ext cx="257434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30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rPr>
                <a:t>VAKTHOLD</a:t>
              </a:r>
            </a:p>
          </p:txBody>
        </p:sp>
        <p:sp>
          <p:nvSpPr>
            <p:cNvPr id="212" name="Rectángulo 596">
              <a:extLst>
                <a:ext uri="{FF2B5EF4-FFF2-40B4-BE49-F238E27FC236}">
                  <a16:creationId xmlns:a16="http://schemas.microsoft.com/office/drawing/2014/main" id="{587DED96-1B71-456D-A322-3AFF6AD05F52}"/>
                </a:ext>
              </a:extLst>
            </p:cNvPr>
            <p:cNvSpPr/>
            <p:nvPr/>
          </p:nvSpPr>
          <p:spPr>
            <a:xfrm>
              <a:off x="1174414" y="9704299"/>
              <a:ext cx="4304586" cy="293926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2286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30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rPr>
                <a:t>Vektertjenester</a:t>
              </a:r>
              <a:endParaRPr kumimoji="0" lang="en-US" sz="1100" b="0" i="0" u="none" strike="noStrike" kern="1200" cap="none" spc="3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  <a:p>
              <a:pPr marL="0" marR="0" lvl="0" indent="0" algn="ctr" defTabSz="2286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30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rPr>
                <a:t>Patruljering</a:t>
              </a:r>
              <a:endParaRPr kumimoji="0" lang="en-US" sz="1100" b="0" i="0" u="none" strike="noStrike" kern="1200" cap="none" spc="3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  <a:p>
              <a:pPr marL="0" marR="0" lvl="0" indent="0" algn="ctr" defTabSz="2286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30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rPr>
                <a:t>Mobilt</a:t>
              </a:r>
              <a:r>
                <a:rPr kumimoji="0" lang="en-US" sz="1100" b="0" i="0" u="none" strike="noStrike" kern="1200" cap="none" spc="30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rPr>
                <a:t> </a:t>
              </a:r>
              <a:r>
                <a:rPr kumimoji="0" lang="en-US" sz="1100" b="0" i="0" u="none" strike="noStrike" kern="1200" cap="none" spc="30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rPr>
                <a:t>vakthold</a:t>
              </a:r>
              <a:endParaRPr kumimoji="0" lang="en-US" sz="1100" b="0" i="0" u="none" strike="noStrike" kern="1200" cap="none" spc="3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  <a:p>
              <a:pPr marL="0" marR="0" lvl="0" indent="0" algn="ctr" defTabSz="2286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30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rPr>
                <a:t>Stasjonært</a:t>
              </a:r>
              <a:r>
                <a:rPr kumimoji="0" lang="en-US" sz="1100" b="0" i="0" u="none" strike="noStrike" kern="1200" cap="none" spc="30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rPr>
                <a:t> </a:t>
              </a:r>
              <a:r>
                <a:rPr kumimoji="0" lang="en-US" sz="1100" b="0" i="0" u="none" strike="noStrike" kern="1200" cap="none" spc="30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rPr>
                <a:t>vakthold</a:t>
              </a:r>
              <a:endParaRPr kumimoji="0" lang="en-US" sz="1100" b="0" i="0" u="none" strike="noStrike" kern="1200" cap="none" spc="3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  <a:p>
              <a:pPr marL="0" marR="0" lvl="0" indent="0" algn="ctr" defTabSz="2286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30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rPr>
                <a:t>Alarmovervåking</a:t>
              </a:r>
              <a:endParaRPr kumimoji="0" lang="en-US" sz="1100" b="0" i="0" u="none" strike="noStrike" kern="1200" cap="none" spc="3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  <a:p>
              <a:pPr marL="0" marR="0" lvl="0" indent="0" algn="ctr" defTabSz="2286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30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rPr>
                <a:t>Alarmutrykning</a:t>
              </a:r>
              <a:endParaRPr kumimoji="0" lang="en-US" sz="1100" b="0" i="0" u="none" strike="noStrike" kern="1200" cap="none" spc="3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13" name="Agrupar 597">
            <a:extLst>
              <a:ext uri="{FF2B5EF4-FFF2-40B4-BE49-F238E27FC236}">
                <a16:creationId xmlns:a16="http://schemas.microsoft.com/office/drawing/2014/main" id="{09BF155E-72F9-4F44-BEAC-D4AD9FCDB86C}"/>
              </a:ext>
            </a:extLst>
          </p:cNvPr>
          <p:cNvGrpSpPr/>
          <p:nvPr/>
        </p:nvGrpSpPr>
        <p:grpSpPr>
          <a:xfrm>
            <a:off x="7313324" y="4397418"/>
            <a:ext cx="2284703" cy="2165513"/>
            <a:chOff x="1042004" y="9066591"/>
            <a:chExt cx="4569406" cy="4331025"/>
          </a:xfrm>
        </p:grpSpPr>
        <p:sp>
          <p:nvSpPr>
            <p:cNvPr id="214" name="CuadroTexto 598">
              <a:extLst>
                <a:ext uri="{FF2B5EF4-FFF2-40B4-BE49-F238E27FC236}">
                  <a16:creationId xmlns:a16="http://schemas.microsoft.com/office/drawing/2014/main" id="{4088B0D9-98EE-40DA-82B6-074FE097EFAB}"/>
                </a:ext>
              </a:extLst>
            </p:cNvPr>
            <p:cNvSpPr txBox="1"/>
            <p:nvPr/>
          </p:nvSpPr>
          <p:spPr>
            <a:xfrm>
              <a:off x="1549696" y="9066591"/>
              <a:ext cx="363469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30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rPr>
                <a:t>EIENDOMSDRIFT</a:t>
              </a:r>
            </a:p>
          </p:txBody>
        </p:sp>
        <p:sp>
          <p:nvSpPr>
            <p:cNvPr id="215" name="Rectángulo 599">
              <a:extLst>
                <a:ext uri="{FF2B5EF4-FFF2-40B4-BE49-F238E27FC236}">
                  <a16:creationId xmlns:a16="http://schemas.microsoft.com/office/drawing/2014/main" id="{1A530958-4386-42D2-8575-735F116AA5B5}"/>
                </a:ext>
              </a:extLst>
            </p:cNvPr>
            <p:cNvSpPr/>
            <p:nvPr/>
          </p:nvSpPr>
          <p:spPr>
            <a:xfrm>
              <a:off x="1042004" y="9704299"/>
              <a:ext cx="4569406" cy="369331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2286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30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rPr>
                <a:t>Teknisk</a:t>
              </a:r>
              <a:r>
                <a:rPr kumimoji="0" lang="en-US" sz="1100" b="0" i="0" u="none" strike="noStrike" kern="1200" cap="none" spc="30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rPr>
                <a:t> </a:t>
              </a:r>
              <a:r>
                <a:rPr kumimoji="0" lang="en-US" sz="1100" b="0" i="0" u="none" strike="noStrike" kern="1200" cap="none" spc="30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rPr>
                <a:t>forvaltning</a:t>
              </a:r>
              <a:endParaRPr kumimoji="0" lang="en-US" sz="1100" b="0" i="0" u="none" strike="noStrike" kern="1200" cap="none" spc="3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  <a:p>
              <a:pPr marL="0" marR="0" lvl="0" indent="0" algn="ctr" defTabSz="2286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30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rPr>
                <a:t>Teknisk</a:t>
              </a:r>
              <a:r>
                <a:rPr kumimoji="0" lang="en-US" sz="1100" b="0" i="0" u="none" strike="noStrike" kern="1200" cap="none" spc="30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rPr>
                <a:t> drift</a:t>
              </a:r>
            </a:p>
            <a:p>
              <a:pPr marL="0" marR="0" lvl="0" indent="0" algn="ctr" defTabSz="2286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30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rPr>
                <a:t>Energiledelse</a:t>
              </a:r>
              <a:endParaRPr kumimoji="0" lang="en-US" sz="1100" b="0" i="0" u="none" strike="noStrike" kern="1200" cap="none" spc="3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  <a:p>
              <a:pPr marL="0" marR="0" lvl="0" indent="0" algn="ctr" defTabSz="2286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30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rPr>
                <a:t>Beredskapsvakt</a:t>
              </a:r>
              <a:endParaRPr kumimoji="0" lang="en-US" sz="1100" b="0" i="0" u="none" strike="noStrike" kern="1200" cap="none" spc="3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  <a:p>
              <a:pPr marL="0" marR="0" lvl="0" indent="0" algn="ctr" defTabSz="2286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30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rPr>
                <a:t>Utvendig</a:t>
              </a:r>
              <a:r>
                <a:rPr kumimoji="0" lang="en-US" sz="1100" b="0" i="0" u="none" strike="noStrike" kern="1200" cap="none" spc="30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rPr>
                <a:t> </a:t>
              </a:r>
              <a:r>
                <a:rPr kumimoji="0" lang="en-US" sz="1100" b="0" i="0" u="none" strike="noStrike" kern="1200" cap="none" spc="30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rPr>
                <a:t>vedlikehold</a:t>
              </a:r>
              <a:endParaRPr kumimoji="0" lang="en-US" sz="1100" b="0" i="0" u="none" strike="noStrike" kern="1200" cap="none" spc="3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  <a:p>
              <a:pPr marL="0" marR="0" lvl="0" indent="0" algn="ctr" defTabSz="2286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30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rPr>
                <a:t>Fasadevask</a:t>
              </a:r>
              <a:endParaRPr kumimoji="0" lang="en-US" sz="1100" b="0" i="0" u="none" strike="noStrike" kern="1200" cap="none" spc="3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  <a:p>
              <a:pPr marL="0" marR="0" lvl="0" indent="0" algn="ctr" defTabSz="2286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30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rPr>
                <a:t>Landscaping</a:t>
              </a:r>
            </a:p>
          </p:txBody>
        </p:sp>
      </p:grpSp>
      <p:pic>
        <p:nvPicPr>
          <p:cNvPr id="216" name="Bilde 215">
            <a:extLst>
              <a:ext uri="{FF2B5EF4-FFF2-40B4-BE49-F238E27FC236}">
                <a16:creationId xmlns:a16="http://schemas.microsoft.com/office/drawing/2014/main" id="{4BD67AB1-2B0F-49FB-A447-0ED3A5621F5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3426" y="2819612"/>
            <a:ext cx="396623" cy="444384"/>
          </a:xfrm>
          <a:prstGeom prst="rect">
            <a:avLst/>
          </a:prstGeom>
        </p:spPr>
      </p:pic>
      <p:grpSp>
        <p:nvGrpSpPr>
          <p:cNvPr id="218" name="Group 117">
            <a:extLst>
              <a:ext uri="{FF2B5EF4-FFF2-40B4-BE49-F238E27FC236}">
                <a16:creationId xmlns:a16="http://schemas.microsoft.com/office/drawing/2014/main" id="{1BEB72F7-2C91-4A4B-B6CE-83D73B529EE0}"/>
              </a:ext>
            </a:extLst>
          </p:cNvPr>
          <p:cNvGrpSpPr>
            <a:grpSpLocks noChangeAspect="1"/>
          </p:cNvGrpSpPr>
          <p:nvPr/>
        </p:nvGrpSpPr>
        <p:grpSpPr>
          <a:xfrm>
            <a:off x="3473397" y="2896662"/>
            <a:ext cx="508302" cy="352729"/>
            <a:chOff x="4984116" y="5597515"/>
            <a:chExt cx="353601" cy="245376"/>
          </a:xfrm>
          <a:solidFill>
            <a:schemeClr val="bg1"/>
          </a:solidFill>
        </p:grpSpPr>
        <p:sp>
          <p:nvSpPr>
            <p:cNvPr id="219" name="Freeform 312">
              <a:extLst>
                <a:ext uri="{FF2B5EF4-FFF2-40B4-BE49-F238E27FC236}">
                  <a16:creationId xmlns:a16="http://schemas.microsoft.com/office/drawing/2014/main" id="{CAC6E942-5E49-46B5-B3E9-F48C15822A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02483" y="5597515"/>
              <a:ext cx="35234" cy="242866"/>
            </a:xfrm>
            <a:custGeom>
              <a:avLst/>
              <a:gdLst>
                <a:gd name="T0" fmla="*/ 2147483647 w 125"/>
                <a:gd name="T1" fmla="*/ 2147483647 h 850"/>
                <a:gd name="T2" fmla="*/ 2147483647 w 125"/>
                <a:gd name="T3" fmla="*/ 2147483647 h 850"/>
                <a:gd name="T4" fmla="*/ 2147483647 w 125"/>
                <a:gd name="T5" fmla="*/ 2147483647 h 850"/>
                <a:gd name="T6" fmla="*/ 2147483647 w 125"/>
                <a:gd name="T7" fmla="*/ 2147483647 h 850"/>
                <a:gd name="T8" fmla="*/ 2147483647 w 125"/>
                <a:gd name="T9" fmla="*/ 2147483647 h 850"/>
                <a:gd name="T10" fmla="*/ 2147483647 w 125"/>
                <a:gd name="T11" fmla="*/ 2147483647 h 850"/>
                <a:gd name="T12" fmla="*/ 2147483647 w 125"/>
                <a:gd name="T13" fmla="*/ 2147483647 h 850"/>
                <a:gd name="T14" fmla="*/ 2147483647 w 125"/>
                <a:gd name="T15" fmla="*/ 2147483647 h 850"/>
                <a:gd name="T16" fmla="*/ 2147483647 w 125"/>
                <a:gd name="T17" fmla="*/ 2147483647 h 850"/>
                <a:gd name="T18" fmla="*/ 2147483647 w 125"/>
                <a:gd name="T19" fmla="*/ 2147483647 h 850"/>
                <a:gd name="T20" fmla="*/ 2147483647 w 125"/>
                <a:gd name="T21" fmla="*/ 2147483647 h 85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25" h="850">
                  <a:moveTo>
                    <a:pt x="71" y="32"/>
                  </a:moveTo>
                  <a:lnTo>
                    <a:pt x="71" y="32"/>
                  </a:lnTo>
                  <a:cubicBezTo>
                    <a:pt x="39" y="58"/>
                    <a:pt x="0" y="97"/>
                    <a:pt x="7" y="222"/>
                  </a:cubicBezTo>
                  <a:cubicBezTo>
                    <a:pt x="7" y="281"/>
                    <a:pt x="0" y="405"/>
                    <a:pt x="13" y="490"/>
                  </a:cubicBezTo>
                  <a:cubicBezTo>
                    <a:pt x="19" y="535"/>
                    <a:pt x="33" y="528"/>
                    <a:pt x="46" y="549"/>
                  </a:cubicBezTo>
                  <a:cubicBezTo>
                    <a:pt x="39" y="666"/>
                    <a:pt x="33" y="698"/>
                    <a:pt x="25" y="816"/>
                  </a:cubicBezTo>
                  <a:cubicBezTo>
                    <a:pt x="25" y="830"/>
                    <a:pt x="46" y="849"/>
                    <a:pt x="71" y="849"/>
                  </a:cubicBezTo>
                  <a:cubicBezTo>
                    <a:pt x="98" y="849"/>
                    <a:pt x="118" y="830"/>
                    <a:pt x="111" y="816"/>
                  </a:cubicBezTo>
                  <a:cubicBezTo>
                    <a:pt x="111" y="698"/>
                    <a:pt x="104" y="673"/>
                    <a:pt x="98" y="561"/>
                  </a:cubicBezTo>
                  <a:cubicBezTo>
                    <a:pt x="104" y="503"/>
                    <a:pt x="124" y="424"/>
                    <a:pt x="124" y="333"/>
                  </a:cubicBezTo>
                  <a:cubicBezTo>
                    <a:pt x="124" y="123"/>
                    <a:pt x="124" y="0"/>
                    <a:pt x="71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220" name="Freeform 313">
              <a:extLst>
                <a:ext uri="{FF2B5EF4-FFF2-40B4-BE49-F238E27FC236}">
                  <a16:creationId xmlns:a16="http://schemas.microsoft.com/office/drawing/2014/main" id="{0150B086-FFDF-4785-A8B6-206FEE354D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4116" y="5607582"/>
              <a:ext cx="57885" cy="227765"/>
            </a:xfrm>
            <a:custGeom>
              <a:avLst/>
              <a:gdLst>
                <a:gd name="T0" fmla="*/ 2147483647 w 203"/>
                <a:gd name="T1" fmla="*/ 2147483647 h 799"/>
                <a:gd name="T2" fmla="*/ 2147483647 w 203"/>
                <a:gd name="T3" fmla="*/ 2147483647 h 799"/>
                <a:gd name="T4" fmla="*/ 2147483647 w 203"/>
                <a:gd name="T5" fmla="*/ 0 h 799"/>
                <a:gd name="T6" fmla="*/ 2147483647 w 203"/>
                <a:gd name="T7" fmla="*/ 2147483647 h 799"/>
                <a:gd name="T8" fmla="*/ 2147483647 w 203"/>
                <a:gd name="T9" fmla="*/ 2147483647 h 799"/>
                <a:gd name="T10" fmla="*/ 2147483647 w 203"/>
                <a:gd name="T11" fmla="*/ 0 h 799"/>
                <a:gd name="T12" fmla="*/ 2147483647 w 203"/>
                <a:gd name="T13" fmla="*/ 2147483647 h 799"/>
                <a:gd name="T14" fmla="*/ 2147483647 w 203"/>
                <a:gd name="T15" fmla="*/ 2147483647 h 799"/>
                <a:gd name="T16" fmla="*/ 2147483647 w 203"/>
                <a:gd name="T17" fmla="*/ 0 h 799"/>
                <a:gd name="T18" fmla="*/ 2147483647 w 203"/>
                <a:gd name="T19" fmla="*/ 2147483647 h 799"/>
                <a:gd name="T20" fmla="*/ 2147483647 w 203"/>
                <a:gd name="T21" fmla="*/ 2147483647 h 799"/>
                <a:gd name="T22" fmla="*/ 2147483647 w 203"/>
                <a:gd name="T23" fmla="*/ 0 h 799"/>
                <a:gd name="T24" fmla="*/ 2147483647 w 203"/>
                <a:gd name="T25" fmla="*/ 2147483647 h 799"/>
                <a:gd name="T26" fmla="*/ 2147483647 w 203"/>
                <a:gd name="T27" fmla="*/ 2147483647 h 799"/>
                <a:gd name="T28" fmla="*/ 2147483647 w 203"/>
                <a:gd name="T29" fmla="*/ 2147483647 h 799"/>
                <a:gd name="T30" fmla="*/ 2147483647 w 203"/>
                <a:gd name="T31" fmla="*/ 2147483647 h 799"/>
                <a:gd name="T32" fmla="*/ 2147483647 w 203"/>
                <a:gd name="T33" fmla="*/ 2147483647 h 799"/>
                <a:gd name="T34" fmla="*/ 2147483647 w 203"/>
                <a:gd name="T35" fmla="*/ 2147483647 h 799"/>
                <a:gd name="T36" fmla="*/ 2147483647 w 203"/>
                <a:gd name="T37" fmla="*/ 2147483647 h 79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03" h="799">
                  <a:moveTo>
                    <a:pt x="196" y="229"/>
                  </a:moveTo>
                  <a:lnTo>
                    <a:pt x="196" y="229"/>
                  </a:lnTo>
                  <a:cubicBezTo>
                    <a:pt x="196" y="229"/>
                    <a:pt x="170" y="0"/>
                    <a:pt x="164" y="0"/>
                  </a:cubicBezTo>
                  <a:cubicBezTo>
                    <a:pt x="156" y="0"/>
                    <a:pt x="164" y="131"/>
                    <a:pt x="164" y="222"/>
                  </a:cubicBezTo>
                  <a:cubicBezTo>
                    <a:pt x="144" y="222"/>
                    <a:pt x="144" y="222"/>
                    <a:pt x="144" y="222"/>
                  </a:cubicBezTo>
                  <a:cubicBezTo>
                    <a:pt x="137" y="131"/>
                    <a:pt x="131" y="0"/>
                    <a:pt x="124" y="0"/>
                  </a:cubicBezTo>
                  <a:cubicBezTo>
                    <a:pt x="117" y="0"/>
                    <a:pt x="118" y="131"/>
                    <a:pt x="112" y="222"/>
                  </a:cubicBezTo>
                  <a:cubicBezTo>
                    <a:pt x="91" y="222"/>
                    <a:pt x="91" y="222"/>
                    <a:pt x="91" y="222"/>
                  </a:cubicBezTo>
                  <a:cubicBezTo>
                    <a:pt x="85" y="131"/>
                    <a:pt x="85" y="0"/>
                    <a:pt x="79" y="0"/>
                  </a:cubicBezTo>
                  <a:cubicBezTo>
                    <a:pt x="73" y="0"/>
                    <a:pt x="66" y="131"/>
                    <a:pt x="59" y="222"/>
                  </a:cubicBezTo>
                  <a:cubicBezTo>
                    <a:pt x="39" y="222"/>
                    <a:pt x="39" y="222"/>
                    <a:pt x="39" y="222"/>
                  </a:cubicBezTo>
                  <a:cubicBezTo>
                    <a:pt x="39" y="131"/>
                    <a:pt x="45" y="0"/>
                    <a:pt x="39" y="0"/>
                  </a:cubicBezTo>
                  <a:cubicBezTo>
                    <a:pt x="33" y="0"/>
                    <a:pt x="13" y="184"/>
                    <a:pt x="7" y="229"/>
                  </a:cubicBezTo>
                  <a:cubicBezTo>
                    <a:pt x="0" y="268"/>
                    <a:pt x="33" y="314"/>
                    <a:pt x="85" y="321"/>
                  </a:cubicBezTo>
                  <a:cubicBezTo>
                    <a:pt x="79" y="497"/>
                    <a:pt x="66" y="588"/>
                    <a:pt x="59" y="765"/>
                  </a:cubicBezTo>
                  <a:cubicBezTo>
                    <a:pt x="59" y="778"/>
                    <a:pt x="79" y="798"/>
                    <a:pt x="105" y="798"/>
                  </a:cubicBezTo>
                  <a:cubicBezTo>
                    <a:pt x="124" y="798"/>
                    <a:pt x="144" y="778"/>
                    <a:pt x="144" y="765"/>
                  </a:cubicBezTo>
                  <a:cubicBezTo>
                    <a:pt x="137" y="588"/>
                    <a:pt x="131" y="497"/>
                    <a:pt x="118" y="321"/>
                  </a:cubicBezTo>
                  <a:cubicBezTo>
                    <a:pt x="170" y="314"/>
                    <a:pt x="202" y="275"/>
                    <a:pt x="196" y="22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221" name="Freeform 314">
              <a:extLst>
                <a:ext uri="{FF2B5EF4-FFF2-40B4-BE49-F238E27FC236}">
                  <a16:creationId xmlns:a16="http://schemas.microsoft.com/office/drawing/2014/main" id="{9185523C-1BFD-453B-BEF8-6A953F18F3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9551" y="5600025"/>
              <a:ext cx="242865" cy="242866"/>
            </a:xfrm>
            <a:custGeom>
              <a:avLst/>
              <a:gdLst>
                <a:gd name="T0" fmla="*/ 2147483647 w 850"/>
                <a:gd name="T1" fmla="*/ 0 h 851"/>
                <a:gd name="T2" fmla="*/ 2147483647 w 850"/>
                <a:gd name="T3" fmla="*/ 0 h 851"/>
                <a:gd name="T4" fmla="*/ 0 w 850"/>
                <a:gd name="T5" fmla="*/ 2147483647 h 851"/>
                <a:gd name="T6" fmla="*/ 2147483647 w 850"/>
                <a:gd name="T7" fmla="*/ 2147483647 h 851"/>
                <a:gd name="T8" fmla="*/ 2147483647 w 850"/>
                <a:gd name="T9" fmla="*/ 2147483647 h 851"/>
                <a:gd name="T10" fmla="*/ 2147483647 w 850"/>
                <a:gd name="T11" fmla="*/ 0 h 851"/>
                <a:gd name="T12" fmla="*/ 2147483647 w 850"/>
                <a:gd name="T13" fmla="*/ 2147483647 h 851"/>
                <a:gd name="T14" fmla="*/ 2147483647 w 850"/>
                <a:gd name="T15" fmla="*/ 2147483647 h 851"/>
                <a:gd name="T16" fmla="*/ 2147483647 w 850"/>
                <a:gd name="T17" fmla="*/ 2147483647 h 851"/>
                <a:gd name="T18" fmla="*/ 2147483647 w 850"/>
                <a:gd name="T19" fmla="*/ 2147483647 h 851"/>
                <a:gd name="T20" fmla="*/ 2147483647 w 850"/>
                <a:gd name="T21" fmla="*/ 2147483647 h 851"/>
                <a:gd name="T22" fmla="*/ 2147483647 w 850"/>
                <a:gd name="T23" fmla="*/ 2147483647 h 85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850" h="851">
                  <a:moveTo>
                    <a:pt x="424" y="0"/>
                  </a:moveTo>
                  <a:lnTo>
                    <a:pt x="424" y="0"/>
                  </a:lnTo>
                  <a:cubicBezTo>
                    <a:pt x="189" y="0"/>
                    <a:pt x="0" y="190"/>
                    <a:pt x="0" y="425"/>
                  </a:cubicBezTo>
                  <a:cubicBezTo>
                    <a:pt x="0" y="660"/>
                    <a:pt x="189" y="850"/>
                    <a:pt x="424" y="850"/>
                  </a:cubicBezTo>
                  <a:cubicBezTo>
                    <a:pt x="659" y="850"/>
                    <a:pt x="849" y="661"/>
                    <a:pt x="849" y="425"/>
                  </a:cubicBezTo>
                  <a:cubicBezTo>
                    <a:pt x="849" y="189"/>
                    <a:pt x="660" y="0"/>
                    <a:pt x="424" y="0"/>
                  </a:cubicBezTo>
                  <a:close/>
                  <a:moveTo>
                    <a:pt x="424" y="713"/>
                  </a:moveTo>
                  <a:lnTo>
                    <a:pt x="424" y="713"/>
                  </a:lnTo>
                  <a:cubicBezTo>
                    <a:pt x="268" y="713"/>
                    <a:pt x="143" y="582"/>
                    <a:pt x="143" y="425"/>
                  </a:cubicBezTo>
                  <a:cubicBezTo>
                    <a:pt x="143" y="268"/>
                    <a:pt x="268" y="144"/>
                    <a:pt x="424" y="144"/>
                  </a:cubicBezTo>
                  <a:cubicBezTo>
                    <a:pt x="580" y="144"/>
                    <a:pt x="705" y="269"/>
                    <a:pt x="705" y="425"/>
                  </a:cubicBezTo>
                  <a:cubicBezTo>
                    <a:pt x="705" y="581"/>
                    <a:pt x="581" y="713"/>
                    <a:pt x="424" y="7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222" name="Freeform 315">
              <a:extLst>
                <a:ext uri="{FF2B5EF4-FFF2-40B4-BE49-F238E27FC236}">
                  <a16:creationId xmlns:a16="http://schemas.microsoft.com/office/drawing/2014/main" id="{6AF6F08C-6322-4A27-AD70-F696A82A7D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7369" y="5652884"/>
              <a:ext cx="142195" cy="104445"/>
            </a:xfrm>
            <a:custGeom>
              <a:avLst/>
              <a:gdLst>
                <a:gd name="T0" fmla="*/ 2147483647 w 498"/>
                <a:gd name="T1" fmla="*/ 0 h 367"/>
                <a:gd name="T2" fmla="*/ 2147483647 w 498"/>
                <a:gd name="T3" fmla="*/ 0 h 367"/>
                <a:gd name="T4" fmla="*/ 0 w 498"/>
                <a:gd name="T5" fmla="*/ 2147483647 h 367"/>
                <a:gd name="T6" fmla="*/ 2147483647 w 498"/>
                <a:gd name="T7" fmla="*/ 2147483647 h 367"/>
                <a:gd name="T8" fmla="*/ 2147483647 w 498"/>
                <a:gd name="T9" fmla="*/ 2147483647 h 367"/>
                <a:gd name="T10" fmla="*/ 2147483647 w 498"/>
                <a:gd name="T11" fmla="*/ 2147483647 h 367"/>
                <a:gd name="T12" fmla="*/ 2147483647 w 498"/>
                <a:gd name="T13" fmla="*/ 2147483647 h 367"/>
                <a:gd name="T14" fmla="*/ 2147483647 w 498"/>
                <a:gd name="T15" fmla="*/ 0 h 36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98" h="367">
                  <a:moveTo>
                    <a:pt x="254" y="0"/>
                  </a:moveTo>
                  <a:lnTo>
                    <a:pt x="254" y="0"/>
                  </a:lnTo>
                  <a:cubicBezTo>
                    <a:pt x="117" y="0"/>
                    <a:pt x="0" y="111"/>
                    <a:pt x="0" y="255"/>
                  </a:cubicBezTo>
                  <a:cubicBezTo>
                    <a:pt x="0" y="295"/>
                    <a:pt x="13" y="333"/>
                    <a:pt x="26" y="366"/>
                  </a:cubicBezTo>
                  <a:cubicBezTo>
                    <a:pt x="19" y="346"/>
                    <a:pt x="19" y="321"/>
                    <a:pt x="19" y="295"/>
                  </a:cubicBezTo>
                  <a:cubicBezTo>
                    <a:pt x="19" y="158"/>
                    <a:pt x="130" y="39"/>
                    <a:pt x="274" y="39"/>
                  </a:cubicBezTo>
                  <a:cubicBezTo>
                    <a:pt x="372" y="39"/>
                    <a:pt x="457" y="98"/>
                    <a:pt x="497" y="184"/>
                  </a:cubicBezTo>
                  <a:cubicBezTo>
                    <a:pt x="470" y="79"/>
                    <a:pt x="372" y="0"/>
                    <a:pt x="25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199" name="Freeform 530">
            <a:extLst>
              <a:ext uri="{FF2B5EF4-FFF2-40B4-BE49-F238E27FC236}">
                <a16:creationId xmlns:a16="http://schemas.microsoft.com/office/drawing/2014/main" id="{AF4A5F87-400A-4C2A-ABC7-F7E9B9D8F2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93852" y="2443497"/>
            <a:ext cx="1209317" cy="1209317"/>
          </a:xfrm>
          <a:custGeom>
            <a:avLst/>
            <a:gdLst>
              <a:gd name="T0" fmla="*/ 2123 w 2124"/>
              <a:gd name="T1" fmla="*/ 1061 h 2124"/>
              <a:gd name="T2" fmla="*/ 2123 w 2124"/>
              <a:gd name="T3" fmla="*/ 1061 h 2124"/>
              <a:gd name="T4" fmla="*/ 1061 w 2124"/>
              <a:gd name="T5" fmla="*/ 2123 h 2124"/>
              <a:gd name="T6" fmla="*/ 0 w 2124"/>
              <a:gd name="T7" fmla="*/ 1061 h 2124"/>
              <a:gd name="T8" fmla="*/ 1061 w 2124"/>
              <a:gd name="T9" fmla="*/ 0 h 2124"/>
              <a:gd name="T10" fmla="*/ 2123 w 2124"/>
              <a:gd name="T11" fmla="*/ 1061 h 2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124" h="2124">
                <a:moveTo>
                  <a:pt x="2123" y="1061"/>
                </a:moveTo>
                <a:lnTo>
                  <a:pt x="2123" y="1061"/>
                </a:lnTo>
                <a:cubicBezTo>
                  <a:pt x="2123" y="1650"/>
                  <a:pt x="1642" y="2123"/>
                  <a:pt x="1061" y="2123"/>
                </a:cubicBezTo>
                <a:cubicBezTo>
                  <a:pt x="473" y="2123"/>
                  <a:pt x="0" y="1650"/>
                  <a:pt x="0" y="1061"/>
                </a:cubicBezTo>
                <a:cubicBezTo>
                  <a:pt x="0" y="481"/>
                  <a:pt x="473" y="0"/>
                  <a:pt x="1061" y="0"/>
                </a:cubicBezTo>
                <a:cubicBezTo>
                  <a:pt x="1642" y="0"/>
                  <a:pt x="2123" y="481"/>
                  <a:pt x="2123" y="1061"/>
                </a:cubicBezTo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23" name="Freeform 28">
            <a:extLst>
              <a:ext uri="{FF2B5EF4-FFF2-40B4-BE49-F238E27FC236}">
                <a16:creationId xmlns:a16="http://schemas.microsoft.com/office/drawing/2014/main" id="{D6343907-9292-49AA-A4DC-D53B98873C4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881460" y="2841616"/>
            <a:ext cx="424063" cy="405710"/>
          </a:xfrm>
          <a:custGeom>
            <a:avLst/>
            <a:gdLst>
              <a:gd name="T0" fmla="*/ 838 w 865"/>
              <a:gd name="T1" fmla="*/ 753 h 859"/>
              <a:gd name="T2" fmla="*/ 656 w 865"/>
              <a:gd name="T3" fmla="*/ 621 h 859"/>
              <a:gd name="T4" fmla="*/ 579 w 865"/>
              <a:gd name="T5" fmla="*/ 601 h 859"/>
              <a:gd name="T6" fmla="*/ 701 w 865"/>
              <a:gd name="T7" fmla="*/ 470 h 859"/>
              <a:gd name="T8" fmla="*/ 623 w 865"/>
              <a:gd name="T9" fmla="*/ 63 h 859"/>
              <a:gd name="T10" fmla="*/ 623 w 865"/>
              <a:gd name="T11" fmla="*/ 63 h 859"/>
              <a:gd name="T12" fmla="*/ 623 w 865"/>
              <a:gd name="T13" fmla="*/ 63 h 859"/>
              <a:gd name="T14" fmla="*/ 612 w 865"/>
              <a:gd name="T15" fmla="*/ 53 h 859"/>
              <a:gd name="T16" fmla="*/ 452 w 865"/>
              <a:gd name="T17" fmla="*/ 0 h 859"/>
              <a:gd name="T18" fmla="*/ 441 w 865"/>
              <a:gd name="T19" fmla="*/ 0 h 859"/>
              <a:gd name="T20" fmla="*/ 431 w 865"/>
              <a:gd name="T21" fmla="*/ 0 h 859"/>
              <a:gd name="T22" fmla="*/ 260 w 865"/>
              <a:gd name="T23" fmla="*/ 63 h 859"/>
              <a:gd name="T24" fmla="*/ 237 w 865"/>
              <a:gd name="T25" fmla="*/ 97 h 859"/>
              <a:gd name="T26" fmla="*/ 184 w 865"/>
              <a:gd name="T27" fmla="*/ 470 h 859"/>
              <a:gd name="T28" fmla="*/ 302 w 865"/>
              <a:gd name="T29" fmla="*/ 600 h 859"/>
              <a:gd name="T30" fmla="*/ 223 w 865"/>
              <a:gd name="T31" fmla="*/ 621 h 859"/>
              <a:gd name="T32" fmla="*/ 27 w 865"/>
              <a:gd name="T33" fmla="*/ 753 h 859"/>
              <a:gd name="T34" fmla="*/ 17 w 865"/>
              <a:gd name="T35" fmla="*/ 856 h 859"/>
              <a:gd name="T36" fmla="*/ 23 w 865"/>
              <a:gd name="T37" fmla="*/ 859 h 859"/>
              <a:gd name="T38" fmla="*/ 440 w 865"/>
              <a:gd name="T39" fmla="*/ 859 h 859"/>
              <a:gd name="T40" fmla="*/ 518 w 865"/>
              <a:gd name="T41" fmla="*/ 859 h 859"/>
              <a:gd name="T42" fmla="*/ 856 w 865"/>
              <a:gd name="T43" fmla="*/ 859 h 859"/>
              <a:gd name="T44" fmla="*/ 862 w 865"/>
              <a:gd name="T45" fmla="*/ 842 h 859"/>
              <a:gd name="T46" fmla="*/ 838 w 865"/>
              <a:gd name="T47" fmla="*/ 753 h 859"/>
              <a:gd name="T48" fmla="*/ 440 w 865"/>
              <a:gd name="T49" fmla="*/ 571 h 859"/>
              <a:gd name="T50" fmla="*/ 274 w 865"/>
              <a:gd name="T51" fmla="*/ 394 h 859"/>
              <a:gd name="T52" fmla="*/ 267 w 865"/>
              <a:gd name="T53" fmla="*/ 355 h 859"/>
              <a:gd name="T54" fmla="*/ 323 w 865"/>
              <a:gd name="T55" fmla="*/ 134 h 859"/>
              <a:gd name="T56" fmla="*/ 573 w 865"/>
              <a:gd name="T57" fmla="*/ 380 h 859"/>
              <a:gd name="T58" fmla="*/ 489 w 865"/>
              <a:gd name="T59" fmla="*/ 277 h 859"/>
              <a:gd name="T60" fmla="*/ 610 w 865"/>
              <a:gd name="T61" fmla="*/ 376 h 859"/>
              <a:gd name="T62" fmla="*/ 610 w 865"/>
              <a:gd name="T63" fmla="*/ 376 h 859"/>
              <a:gd name="T64" fmla="*/ 440 w 865"/>
              <a:gd name="T65" fmla="*/ 571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865" h="859">
                <a:moveTo>
                  <a:pt x="838" y="753"/>
                </a:moveTo>
                <a:cubicBezTo>
                  <a:pt x="811" y="686"/>
                  <a:pt x="782" y="638"/>
                  <a:pt x="656" y="621"/>
                </a:cubicBezTo>
                <a:cubicBezTo>
                  <a:pt x="645" y="620"/>
                  <a:pt x="602" y="619"/>
                  <a:pt x="579" y="601"/>
                </a:cubicBezTo>
                <a:cubicBezTo>
                  <a:pt x="621" y="587"/>
                  <a:pt x="688" y="551"/>
                  <a:pt x="701" y="470"/>
                </a:cubicBezTo>
                <a:cubicBezTo>
                  <a:pt x="701" y="470"/>
                  <a:pt x="722" y="167"/>
                  <a:pt x="623" y="63"/>
                </a:cubicBezTo>
                <a:cubicBezTo>
                  <a:pt x="623" y="63"/>
                  <a:pt x="623" y="63"/>
                  <a:pt x="623" y="63"/>
                </a:cubicBezTo>
                <a:cubicBezTo>
                  <a:pt x="623" y="63"/>
                  <a:pt x="623" y="63"/>
                  <a:pt x="623" y="63"/>
                </a:cubicBezTo>
                <a:cubicBezTo>
                  <a:pt x="619" y="59"/>
                  <a:pt x="616" y="56"/>
                  <a:pt x="612" y="53"/>
                </a:cubicBezTo>
                <a:cubicBezTo>
                  <a:pt x="576" y="21"/>
                  <a:pt x="524" y="0"/>
                  <a:pt x="452" y="0"/>
                </a:cubicBezTo>
                <a:cubicBezTo>
                  <a:pt x="448" y="0"/>
                  <a:pt x="445" y="0"/>
                  <a:pt x="441" y="0"/>
                </a:cubicBezTo>
                <a:cubicBezTo>
                  <a:pt x="438" y="0"/>
                  <a:pt x="434" y="0"/>
                  <a:pt x="431" y="0"/>
                </a:cubicBezTo>
                <a:cubicBezTo>
                  <a:pt x="351" y="0"/>
                  <a:pt x="296" y="26"/>
                  <a:pt x="260" y="63"/>
                </a:cubicBezTo>
                <a:cubicBezTo>
                  <a:pt x="250" y="72"/>
                  <a:pt x="243" y="84"/>
                  <a:pt x="237" y="97"/>
                </a:cubicBezTo>
                <a:cubicBezTo>
                  <a:pt x="167" y="221"/>
                  <a:pt x="184" y="470"/>
                  <a:pt x="184" y="470"/>
                </a:cubicBezTo>
                <a:cubicBezTo>
                  <a:pt x="196" y="549"/>
                  <a:pt x="260" y="585"/>
                  <a:pt x="302" y="600"/>
                </a:cubicBezTo>
                <a:cubicBezTo>
                  <a:pt x="279" y="619"/>
                  <a:pt x="235" y="620"/>
                  <a:pt x="223" y="621"/>
                </a:cubicBezTo>
                <a:cubicBezTo>
                  <a:pt x="97" y="638"/>
                  <a:pt x="53" y="686"/>
                  <a:pt x="27" y="753"/>
                </a:cubicBezTo>
                <a:cubicBezTo>
                  <a:pt x="0" y="819"/>
                  <a:pt x="15" y="855"/>
                  <a:pt x="17" y="856"/>
                </a:cubicBezTo>
                <a:cubicBezTo>
                  <a:pt x="19" y="858"/>
                  <a:pt x="21" y="859"/>
                  <a:pt x="23" y="859"/>
                </a:cubicBezTo>
                <a:cubicBezTo>
                  <a:pt x="440" y="859"/>
                  <a:pt x="440" y="859"/>
                  <a:pt x="440" y="859"/>
                </a:cubicBezTo>
                <a:cubicBezTo>
                  <a:pt x="518" y="859"/>
                  <a:pt x="518" y="859"/>
                  <a:pt x="518" y="859"/>
                </a:cubicBezTo>
                <a:cubicBezTo>
                  <a:pt x="856" y="859"/>
                  <a:pt x="856" y="859"/>
                  <a:pt x="856" y="859"/>
                </a:cubicBezTo>
                <a:cubicBezTo>
                  <a:pt x="858" y="859"/>
                  <a:pt x="860" y="844"/>
                  <a:pt x="862" y="842"/>
                </a:cubicBezTo>
                <a:cubicBezTo>
                  <a:pt x="864" y="841"/>
                  <a:pt x="865" y="819"/>
                  <a:pt x="838" y="753"/>
                </a:cubicBezTo>
                <a:close/>
                <a:moveTo>
                  <a:pt x="440" y="571"/>
                </a:moveTo>
                <a:cubicBezTo>
                  <a:pt x="389" y="571"/>
                  <a:pt x="307" y="503"/>
                  <a:pt x="274" y="394"/>
                </a:cubicBezTo>
                <a:cubicBezTo>
                  <a:pt x="267" y="355"/>
                  <a:pt x="267" y="355"/>
                  <a:pt x="267" y="355"/>
                </a:cubicBezTo>
                <a:cubicBezTo>
                  <a:pt x="261" y="288"/>
                  <a:pt x="274" y="187"/>
                  <a:pt x="323" y="134"/>
                </a:cubicBezTo>
                <a:cubicBezTo>
                  <a:pt x="365" y="206"/>
                  <a:pt x="478" y="336"/>
                  <a:pt x="573" y="380"/>
                </a:cubicBezTo>
                <a:cubicBezTo>
                  <a:pt x="573" y="380"/>
                  <a:pt x="528" y="339"/>
                  <a:pt x="489" y="277"/>
                </a:cubicBezTo>
                <a:cubicBezTo>
                  <a:pt x="532" y="313"/>
                  <a:pt x="575" y="349"/>
                  <a:pt x="610" y="376"/>
                </a:cubicBezTo>
                <a:cubicBezTo>
                  <a:pt x="610" y="376"/>
                  <a:pt x="610" y="376"/>
                  <a:pt x="610" y="376"/>
                </a:cubicBezTo>
                <a:cubicBezTo>
                  <a:pt x="580" y="496"/>
                  <a:pt x="493" y="571"/>
                  <a:pt x="440" y="57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24" name="Freeform 17">
            <a:extLst>
              <a:ext uri="{FF2B5EF4-FFF2-40B4-BE49-F238E27FC236}">
                <a16:creationId xmlns:a16="http://schemas.microsoft.com/office/drawing/2014/main" id="{4A93ED43-6A40-455C-8E43-4AFD15F3368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333494" y="2865383"/>
            <a:ext cx="275347" cy="405690"/>
          </a:xfrm>
          <a:custGeom>
            <a:avLst/>
            <a:gdLst>
              <a:gd name="T0" fmla="*/ 1089 w 1290"/>
              <a:gd name="T1" fmla="*/ 1176 h 1898"/>
              <a:gd name="T2" fmla="*/ 1290 w 1290"/>
              <a:gd name="T3" fmla="*/ 1123 h 1898"/>
              <a:gd name="T4" fmla="*/ 1144 w 1290"/>
              <a:gd name="T5" fmla="*/ 539 h 1898"/>
              <a:gd name="T6" fmla="*/ 1225 w 1290"/>
              <a:gd name="T7" fmla="*/ 495 h 1898"/>
              <a:gd name="T8" fmla="*/ 1168 w 1290"/>
              <a:gd name="T9" fmla="*/ 37 h 1898"/>
              <a:gd name="T10" fmla="*/ 964 w 1290"/>
              <a:gd name="T11" fmla="*/ 3 h 1898"/>
              <a:gd name="T12" fmla="*/ 844 w 1290"/>
              <a:gd name="T13" fmla="*/ 450 h 1898"/>
              <a:gd name="T14" fmla="*/ 948 w 1290"/>
              <a:gd name="T15" fmla="*/ 533 h 1898"/>
              <a:gd name="T16" fmla="*/ 947 w 1290"/>
              <a:gd name="T17" fmla="*/ 899 h 1898"/>
              <a:gd name="T18" fmla="*/ 801 w 1290"/>
              <a:gd name="T19" fmla="*/ 1653 h 1898"/>
              <a:gd name="T20" fmla="*/ 1045 w 1290"/>
              <a:gd name="T21" fmla="*/ 1898 h 1898"/>
              <a:gd name="T22" fmla="*/ 1290 w 1290"/>
              <a:gd name="T23" fmla="*/ 1561 h 1898"/>
              <a:gd name="T24" fmla="*/ 1050 w 1290"/>
              <a:gd name="T25" fmla="*/ 1521 h 1898"/>
              <a:gd name="T26" fmla="*/ 1290 w 1290"/>
              <a:gd name="T27" fmla="*/ 1482 h 1898"/>
              <a:gd name="T28" fmla="*/ 1089 w 1290"/>
              <a:gd name="T29" fmla="*/ 1408 h 1898"/>
              <a:gd name="T30" fmla="*/ 1089 w 1290"/>
              <a:gd name="T31" fmla="*/ 1329 h 1898"/>
              <a:gd name="T32" fmla="*/ 1290 w 1290"/>
              <a:gd name="T33" fmla="*/ 1255 h 1898"/>
              <a:gd name="T34" fmla="*/ 1050 w 1290"/>
              <a:gd name="T35" fmla="*/ 1215 h 1898"/>
              <a:gd name="T36" fmla="*/ 456 w 1290"/>
              <a:gd name="T37" fmla="*/ 7 h 1898"/>
              <a:gd name="T38" fmla="*/ 431 w 1290"/>
              <a:gd name="T39" fmla="*/ 326 h 1898"/>
              <a:gd name="T40" fmla="*/ 245 w 1290"/>
              <a:gd name="T41" fmla="*/ 45 h 1898"/>
              <a:gd name="T42" fmla="*/ 175 w 1290"/>
              <a:gd name="T43" fmla="*/ 14 h 1898"/>
              <a:gd name="T44" fmla="*/ 0 w 1290"/>
              <a:gd name="T45" fmla="*/ 196 h 1898"/>
              <a:gd name="T46" fmla="*/ 12 w 1290"/>
              <a:gd name="T47" fmla="*/ 471 h 1898"/>
              <a:gd name="T48" fmla="*/ 215 w 1290"/>
              <a:gd name="T49" fmla="*/ 657 h 1898"/>
              <a:gd name="T50" fmla="*/ 240 w 1290"/>
              <a:gd name="T51" fmla="*/ 899 h 1898"/>
              <a:gd name="T52" fmla="*/ 93 w 1290"/>
              <a:gd name="T53" fmla="*/ 1653 h 1898"/>
              <a:gd name="T54" fmla="*/ 338 w 1290"/>
              <a:gd name="T55" fmla="*/ 1898 h 1898"/>
              <a:gd name="T56" fmla="*/ 583 w 1290"/>
              <a:gd name="T57" fmla="*/ 1561 h 1898"/>
              <a:gd name="T58" fmla="*/ 343 w 1290"/>
              <a:gd name="T59" fmla="*/ 1521 h 1898"/>
              <a:gd name="T60" fmla="*/ 583 w 1290"/>
              <a:gd name="T61" fmla="*/ 1482 h 1898"/>
              <a:gd name="T62" fmla="*/ 382 w 1290"/>
              <a:gd name="T63" fmla="*/ 1408 h 1898"/>
              <a:gd name="T64" fmla="*/ 382 w 1290"/>
              <a:gd name="T65" fmla="*/ 1329 h 1898"/>
              <a:gd name="T66" fmla="*/ 583 w 1290"/>
              <a:gd name="T67" fmla="*/ 1255 h 1898"/>
              <a:gd name="T68" fmla="*/ 343 w 1290"/>
              <a:gd name="T69" fmla="*/ 1215 h 1898"/>
              <a:gd name="T70" fmla="*/ 583 w 1290"/>
              <a:gd name="T71" fmla="*/ 1176 h 1898"/>
              <a:gd name="T72" fmla="*/ 436 w 1290"/>
              <a:gd name="T73" fmla="*/ 899 h 1898"/>
              <a:gd name="T74" fmla="*/ 461 w 1290"/>
              <a:gd name="T75" fmla="*/ 657 h 1898"/>
              <a:gd name="T76" fmla="*/ 665 w 1290"/>
              <a:gd name="T77" fmla="*/ 471 h 1898"/>
              <a:gd name="T78" fmla="*/ 677 w 1290"/>
              <a:gd name="T79" fmla="*/ 196 h 1898"/>
              <a:gd name="T80" fmla="*/ 501 w 1290"/>
              <a:gd name="T81" fmla="*/ 14 h 18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290" h="1898">
                <a:moveTo>
                  <a:pt x="1050" y="1215"/>
                </a:moveTo>
                <a:cubicBezTo>
                  <a:pt x="1050" y="1194"/>
                  <a:pt x="1067" y="1176"/>
                  <a:pt x="1089" y="1176"/>
                </a:cubicBezTo>
                <a:cubicBezTo>
                  <a:pt x="1290" y="1176"/>
                  <a:pt x="1290" y="1176"/>
                  <a:pt x="1290" y="1176"/>
                </a:cubicBezTo>
                <a:cubicBezTo>
                  <a:pt x="1290" y="1123"/>
                  <a:pt x="1290" y="1123"/>
                  <a:pt x="1290" y="1123"/>
                </a:cubicBezTo>
                <a:cubicBezTo>
                  <a:pt x="1290" y="1023"/>
                  <a:pt x="1230" y="936"/>
                  <a:pt x="1144" y="899"/>
                </a:cubicBezTo>
                <a:cubicBezTo>
                  <a:pt x="1144" y="539"/>
                  <a:pt x="1144" y="539"/>
                  <a:pt x="1144" y="539"/>
                </a:cubicBezTo>
                <a:cubicBezTo>
                  <a:pt x="1144" y="539"/>
                  <a:pt x="1144" y="538"/>
                  <a:pt x="1144" y="538"/>
                </a:cubicBezTo>
                <a:cubicBezTo>
                  <a:pt x="1225" y="495"/>
                  <a:pt x="1225" y="495"/>
                  <a:pt x="1225" y="495"/>
                </a:cubicBezTo>
                <a:cubicBezTo>
                  <a:pt x="1241" y="487"/>
                  <a:pt x="1250" y="469"/>
                  <a:pt x="1246" y="450"/>
                </a:cubicBezTo>
                <a:cubicBezTo>
                  <a:pt x="1168" y="37"/>
                  <a:pt x="1168" y="37"/>
                  <a:pt x="1168" y="37"/>
                </a:cubicBezTo>
                <a:cubicBezTo>
                  <a:pt x="1164" y="17"/>
                  <a:pt x="1147" y="3"/>
                  <a:pt x="1127" y="3"/>
                </a:cubicBezTo>
                <a:cubicBezTo>
                  <a:pt x="964" y="3"/>
                  <a:pt x="964" y="3"/>
                  <a:pt x="964" y="3"/>
                </a:cubicBezTo>
                <a:cubicBezTo>
                  <a:pt x="944" y="3"/>
                  <a:pt x="927" y="17"/>
                  <a:pt x="923" y="37"/>
                </a:cubicBezTo>
                <a:cubicBezTo>
                  <a:pt x="844" y="450"/>
                  <a:pt x="844" y="450"/>
                  <a:pt x="844" y="450"/>
                </a:cubicBezTo>
                <a:cubicBezTo>
                  <a:pt x="841" y="469"/>
                  <a:pt x="850" y="488"/>
                  <a:pt x="868" y="496"/>
                </a:cubicBezTo>
                <a:cubicBezTo>
                  <a:pt x="948" y="533"/>
                  <a:pt x="948" y="533"/>
                  <a:pt x="948" y="533"/>
                </a:cubicBezTo>
                <a:cubicBezTo>
                  <a:pt x="947" y="535"/>
                  <a:pt x="947" y="537"/>
                  <a:pt x="947" y="539"/>
                </a:cubicBezTo>
                <a:cubicBezTo>
                  <a:pt x="947" y="899"/>
                  <a:pt x="947" y="899"/>
                  <a:pt x="947" y="899"/>
                </a:cubicBezTo>
                <a:cubicBezTo>
                  <a:pt x="861" y="936"/>
                  <a:pt x="801" y="1023"/>
                  <a:pt x="801" y="1123"/>
                </a:cubicBezTo>
                <a:cubicBezTo>
                  <a:pt x="801" y="1653"/>
                  <a:pt x="801" y="1653"/>
                  <a:pt x="801" y="1653"/>
                </a:cubicBezTo>
                <a:cubicBezTo>
                  <a:pt x="801" y="1788"/>
                  <a:pt x="910" y="1898"/>
                  <a:pt x="1045" y="1898"/>
                </a:cubicBezTo>
                <a:cubicBezTo>
                  <a:pt x="1045" y="1898"/>
                  <a:pt x="1045" y="1898"/>
                  <a:pt x="1045" y="1898"/>
                </a:cubicBezTo>
                <a:cubicBezTo>
                  <a:pt x="1181" y="1898"/>
                  <a:pt x="1290" y="1788"/>
                  <a:pt x="1290" y="1653"/>
                </a:cubicBezTo>
                <a:cubicBezTo>
                  <a:pt x="1290" y="1561"/>
                  <a:pt x="1290" y="1561"/>
                  <a:pt x="1290" y="1561"/>
                </a:cubicBezTo>
                <a:cubicBezTo>
                  <a:pt x="1089" y="1561"/>
                  <a:pt x="1089" y="1561"/>
                  <a:pt x="1089" y="1561"/>
                </a:cubicBezTo>
                <a:cubicBezTo>
                  <a:pt x="1067" y="1561"/>
                  <a:pt x="1050" y="1543"/>
                  <a:pt x="1050" y="1521"/>
                </a:cubicBezTo>
                <a:cubicBezTo>
                  <a:pt x="1050" y="1500"/>
                  <a:pt x="1067" y="1482"/>
                  <a:pt x="1089" y="1482"/>
                </a:cubicBezTo>
                <a:cubicBezTo>
                  <a:pt x="1290" y="1482"/>
                  <a:pt x="1290" y="1482"/>
                  <a:pt x="1290" y="1482"/>
                </a:cubicBezTo>
                <a:cubicBezTo>
                  <a:pt x="1290" y="1408"/>
                  <a:pt x="1290" y="1408"/>
                  <a:pt x="1290" y="1408"/>
                </a:cubicBezTo>
                <a:cubicBezTo>
                  <a:pt x="1089" y="1408"/>
                  <a:pt x="1089" y="1408"/>
                  <a:pt x="1089" y="1408"/>
                </a:cubicBezTo>
                <a:cubicBezTo>
                  <a:pt x="1067" y="1408"/>
                  <a:pt x="1050" y="1390"/>
                  <a:pt x="1050" y="1368"/>
                </a:cubicBezTo>
                <a:cubicBezTo>
                  <a:pt x="1050" y="1347"/>
                  <a:pt x="1067" y="1329"/>
                  <a:pt x="1089" y="1329"/>
                </a:cubicBezTo>
                <a:cubicBezTo>
                  <a:pt x="1290" y="1329"/>
                  <a:pt x="1290" y="1329"/>
                  <a:pt x="1290" y="1329"/>
                </a:cubicBezTo>
                <a:cubicBezTo>
                  <a:pt x="1290" y="1255"/>
                  <a:pt x="1290" y="1255"/>
                  <a:pt x="1290" y="1255"/>
                </a:cubicBezTo>
                <a:cubicBezTo>
                  <a:pt x="1089" y="1255"/>
                  <a:pt x="1089" y="1255"/>
                  <a:pt x="1089" y="1255"/>
                </a:cubicBezTo>
                <a:cubicBezTo>
                  <a:pt x="1067" y="1255"/>
                  <a:pt x="1050" y="1237"/>
                  <a:pt x="1050" y="1215"/>
                </a:cubicBezTo>
                <a:close/>
                <a:moveTo>
                  <a:pt x="501" y="14"/>
                </a:moveTo>
                <a:cubicBezTo>
                  <a:pt x="489" y="3"/>
                  <a:pt x="471" y="0"/>
                  <a:pt x="456" y="7"/>
                </a:cubicBezTo>
                <a:cubicBezTo>
                  <a:pt x="441" y="13"/>
                  <a:pt x="431" y="28"/>
                  <a:pt x="431" y="45"/>
                </a:cubicBezTo>
                <a:cubicBezTo>
                  <a:pt x="431" y="326"/>
                  <a:pt x="431" y="326"/>
                  <a:pt x="431" y="326"/>
                </a:cubicBezTo>
                <a:cubicBezTo>
                  <a:pt x="245" y="326"/>
                  <a:pt x="245" y="326"/>
                  <a:pt x="245" y="326"/>
                </a:cubicBezTo>
                <a:cubicBezTo>
                  <a:pt x="245" y="45"/>
                  <a:pt x="245" y="45"/>
                  <a:pt x="245" y="45"/>
                </a:cubicBezTo>
                <a:cubicBezTo>
                  <a:pt x="245" y="28"/>
                  <a:pt x="236" y="13"/>
                  <a:pt x="220" y="7"/>
                </a:cubicBezTo>
                <a:cubicBezTo>
                  <a:pt x="205" y="0"/>
                  <a:pt x="188" y="3"/>
                  <a:pt x="175" y="14"/>
                </a:cubicBezTo>
                <a:cubicBezTo>
                  <a:pt x="13" y="165"/>
                  <a:pt x="13" y="165"/>
                  <a:pt x="13" y="165"/>
                </a:cubicBezTo>
                <a:cubicBezTo>
                  <a:pt x="4" y="173"/>
                  <a:pt x="0" y="184"/>
                  <a:pt x="0" y="196"/>
                </a:cubicBezTo>
                <a:cubicBezTo>
                  <a:pt x="0" y="442"/>
                  <a:pt x="0" y="442"/>
                  <a:pt x="0" y="442"/>
                </a:cubicBezTo>
                <a:cubicBezTo>
                  <a:pt x="0" y="453"/>
                  <a:pt x="4" y="463"/>
                  <a:pt x="12" y="471"/>
                </a:cubicBezTo>
                <a:cubicBezTo>
                  <a:pt x="186" y="645"/>
                  <a:pt x="186" y="645"/>
                  <a:pt x="186" y="645"/>
                </a:cubicBezTo>
                <a:cubicBezTo>
                  <a:pt x="194" y="653"/>
                  <a:pt x="204" y="657"/>
                  <a:pt x="215" y="657"/>
                </a:cubicBezTo>
                <a:cubicBezTo>
                  <a:pt x="240" y="657"/>
                  <a:pt x="240" y="657"/>
                  <a:pt x="240" y="657"/>
                </a:cubicBezTo>
                <a:cubicBezTo>
                  <a:pt x="240" y="899"/>
                  <a:pt x="240" y="899"/>
                  <a:pt x="240" y="899"/>
                </a:cubicBezTo>
                <a:cubicBezTo>
                  <a:pt x="154" y="936"/>
                  <a:pt x="93" y="1023"/>
                  <a:pt x="93" y="1123"/>
                </a:cubicBezTo>
                <a:cubicBezTo>
                  <a:pt x="93" y="1653"/>
                  <a:pt x="93" y="1653"/>
                  <a:pt x="93" y="1653"/>
                </a:cubicBezTo>
                <a:cubicBezTo>
                  <a:pt x="93" y="1788"/>
                  <a:pt x="203" y="1898"/>
                  <a:pt x="338" y="1898"/>
                </a:cubicBezTo>
                <a:cubicBezTo>
                  <a:pt x="338" y="1898"/>
                  <a:pt x="338" y="1898"/>
                  <a:pt x="338" y="1898"/>
                </a:cubicBezTo>
                <a:cubicBezTo>
                  <a:pt x="474" y="1898"/>
                  <a:pt x="583" y="1788"/>
                  <a:pt x="583" y="1653"/>
                </a:cubicBezTo>
                <a:cubicBezTo>
                  <a:pt x="583" y="1561"/>
                  <a:pt x="583" y="1561"/>
                  <a:pt x="583" y="1561"/>
                </a:cubicBezTo>
                <a:cubicBezTo>
                  <a:pt x="382" y="1561"/>
                  <a:pt x="382" y="1561"/>
                  <a:pt x="382" y="1561"/>
                </a:cubicBezTo>
                <a:cubicBezTo>
                  <a:pt x="360" y="1561"/>
                  <a:pt x="343" y="1543"/>
                  <a:pt x="343" y="1521"/>
                </a:cubicBezTo>
                <a:cubicBezTo>
                  <a:pt x="343" y="1500"/>
                  <a:pt x="360" y="1482"/>
                  <a:pt x="382" y="1482"/>
                </a:cubicBezTo>
                <a:cubicBezTo>
                  <a:pt x="583" y="1482"/>
                  <a:pt x="583" y="1482"/>
                  <a:pt x="583" y="1482"/>
                </a:cubicBezTo>
                <a:cubicBezTo>
                  <a:pt x="583" y="1408"/>
                  <a:pt x="583" y="1408"/>
                  <a:pt x="583" y="1408"/>
                </a:cubicBezTo>
                <a:cubicBezTo>
                  <a:pt x="382" y="1408"/>
                  <a:pt x="382" y="1408"/>
                  <a:pt x="382" y="1408"/>
                </a:cubicBezTo>
                <a:cubicBezTo>
                  <a:pt x="360" y="1408"/>
                  <a:pt x="343" y="1390"/>
                  <a:pt x="343" y="1368"/>
                </a:cubicBezTo>
                <a:cubicBezTo>
                  <a:pt x="343" y="1347"/>
                  <a:pt x="360" y="1329"/>
                  <a:pt x="382" y="1329"/>
                </a:cubicBezTo>
                <a:cubicBezTo>
                  <a:pt x="583" y="1329"/>
                  <a:pt x="583" y="1329"/>
                  <a:pt x="583" y="1329"/>
                </a:cubicBezTo>
                <a:cubicBezTo>
                  <a:pt x="583" y="1255"/>
                  <a:pt x="583" y="1255"/>
                  <a:pt x="583" y="1255"/>
                </a:cubicBezTo>
                <a:cubicBezTo>
                  <a:pt x="382" y="1255"/>
                  <a:pt x="382" y="1255"/>
                  <a:pt x="382" y="1255"/>
                </a:cubicBezTo>
                <a:cubicBezTo>
                  <a:pt x="360" y="1255"/>
                  <a:pt x="343" y="1237"/>
                  <a:pt x="343" y="1215"/>
                </a:cubicBezTo>
                <a:cubicBezTo>
                  <a:pt x="343" y="1194"/>
                  <a:pt x="360" y="1176"/>
                  <a:pt x="382" y="1176"/>
                </a:cubicBezTo>
                <a:cubicBezTo>
                  <a:pt x="583" y="1176"/>
                  <a:pt x="583" y="1176"/>
                  <a:pt x="583" y="1176"/>
                </a:cubicBezTo>
                <a:cubicBezTo>
                  <a:pt x="583" y="1123"/>
                  <a:pt x="583" y="1123"/>
                  <a:pt x="583" y="1123"/>
                </a:cubicBezTo>
                <a:cubicBezTo>
                  <a:pt x="583" y="1023"/>
                  <a:pt x="523" y="936"/>
                  <a:pt x="436" y="899"/>
                </a:cubicBezTo>
                <a:cubicBezTo>
                  <a:pt x="436" y="657"/>
                  <a:pt x="436" y="657"/>
                  <a:pt x="436" y="657"/>
                </a:cubicBezTo>
                <a:cubicBezTo>
                  <a:pt x="461" y="657"/>
                  <a:pt x="461" y="657"/>
                  <a:pt x="461" y="657"/>
                </a:cubicBezTo>
                <a:cubicBezTo>
                  <a:pt x="472" y="657"/>
                  <a:pt x="483" y="653"/>
                  <a:pt x="491" y="645"/>
                </a:cubicBezTo>
                <a:cubicBezTo>
                  <a:pt x="665" y="471"/>
                  <a:pt x="665" y="471"/>
                  <a:pt x="665" y="471"/>
                </a:cubicBezTo>
                <a:cubicBezTo>
                  <a:pt x="672" y="463"/>
                  <a:pt x="677" y="453"/>
                  <a:pt x="677" y="442"/>
                </a:cubicBezTo>
                <a:cubicBezTo>
                  <a:pt x="677" y="196"/>
                  <a:pt x="677" y="196"/>
                  <a:pt x="677" y="196"/>
                </a:cubicBezTo>
                <a:cubicBezTo>
                  <a:pt x="677" y="184"/>
                  <a:pt x="672" y="173"/>
                  <a:pt x="664" y="165"/>
                </a:cubicBezTo>
                <a:lnTo>
                  <a:pt x="501" y="1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25" name="Freeform 9">
            <a:extLst>
              <a:ext uri="{FF2B5EF4-FFF2-40B4-BE49-F238E27FC236}">
                <a16:creationId xmlns:a16="http://schemas.microsoft.com/office/drawing/2014/main" id="{466D42CF-919E-4AA2-ACE3-ACA2C8ABC18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589958" y="2870875"/>
            <a:ext cx="450775" cy="378516"/>
          </a:xfrm>
          <a:custGeom>
            <a:avLst/>
            <a:gdLst>
              <a:gd name="T0" fmla="*/ 1362 w 2043"/>
              <a:gd name="T1" fmla="*/ 373 h 1714"/>
              <a:gd name="T2" fmla="*/ 783 w 2043"/>
              <a:gd name="T3" fmla="*/ 290 h 1714"/>
              <a:gd name="T4" fmla="*/ 711 w 2043"/>
              <a:gd name="T5" fmla="*/ 640 h 1714"/>
              <a:gd name="T6" fmla="*/ 981 w 2043"/>
              <a:gd name="T7" fmla="*/ 569 h 1714"/>
              <a:gd name="T8" fmla="*/ 1111 w 2043"/>
              <a:gd name="T9" fmla="*/ 652 h 1714"/>
              <a:gd name="T10" fmla="*/ 1036 w 2043"/>
              <a:gd name="T11" fmla="*/ 652 h 1714"/>
              <a:gd name="T12" fmla="*/ 900 w 2043"/>
              <a:gd name="T13" fmla="*/ 373 h 1714"/>
              <a:gd name="T14" fmla="*/ 1245 w 2043"/>
              <a:gd name="T15" fmla="*/ 294 h 1714"/>
              <a:gd name="T16" fmla="*/ 18 w 2043"/>
              <a:gd name="T17" fmla="*/ 1311 h 1714"/>
              <a:gd name="T18" fmla="*/ 260 w 2043"/>
              <a:gd name="T19" fmla="*/ 1128 h 1714"/>
              <a:gd name="T20" fmla="*/ 853 w 2043"/>
              <a:gd name="T21" fmla="*/ 1128 h 1714"/>
              <a:gd name="T22" fmla="*/ 1120 w 2043"/>
              <a:gd name="T23" fmla="*/ 1185 h 1714"/>
              <a:gd name="T24" fmla="*/ 1321 w 2043"/>
              <a:gd name="T25" fmla="*/ 1137 h 1714"/>
              <a:gd name="T26" fmla="*/ 1399 w 2043"/>
              <a:gd name="T27" fmla="*/ 1188 h 1714"/>
              <a:gd name="T28" fmla="*/ 1269 w 2043"/>
              <a:gd name="T29" fmla="*/ 1267 h 1714"/>
              <a:gd name="T30" fmla="*/ 1201 w 2043"/>
              <a:gd name="T31" fmla="*/ 1297 h 1714"/>
              <a:gd name="T32" fmla="*/ 1123 w 2043"/>
              <a:gd name="T33" fmla="*/ 1337 h 1714"/>
              <a:gd name="T34" fmla="*/ 898 w 2043"/>
              <a:gd name="T35" fmla="*/ 1357 h 1714"/>
              <a:gd name="T36" fmla="*/ 930 w 2043"/>
              <a:gd name="T37" fmla="*/ 1405 h 1714"/>
              <a:gd name="T38" fmla="*/ 1175 w 2043"/>
              <a:gd name="T39" fmla="*/ 1371 h 1714"/>
              <a:gd name="T40" fmla="*/ 1286 w 2043"/>
              <a:gd name="T41" fmla="*/ 1320 h 1714"/>
              <a:gd name="T42" fmla="*/ 1597 w 2043"/>
              <a:gd name="T43" fmla="*/ 1151 h 1714"/>
              <a:gd name="T44" fmla="*/ 1764 w 2043"/>
              <a:gd name="T45" fmla="*/ 1079 h 1714"/>
              <a:gd name="T46" fmla="*/ 1916 w 2043"/>
              <a:gd name="T47" fmla="*/ 1051 h 1714"/>
              <a:gd name="T48" fmla="*/ 1983 w 2043"/>
              <a:gd name="T49" fmla="*/ 1094 h 1714"/>
              <a:gd name="T50" fmla="*/ 1542 w 2043"/>
              <a:gd name="T51" fmla="*/ 1299 h 1714"/>
              <a:gd name="T52" fmla="*/ 1191 w 2043"/>
              <a:gd name="T53" fmla="*/ 1414 h 1714"/>
              <a:gd name="T54" fmla="*/ 804 w 2043"/>
              <a:gd name="T55" fmla="*/ 1459 h 1714"/>
              <a:gd name="T56" fmla="*/ 315 w 2043"/>
              <a:gd name="T57" fmla="*/ 1572 h 1714"/>
              <a:gd name="T58" fmla="*/ 344 w 2043"/>
              <a:gd name="T59" fmla="*/ 1621 h 1714"/>
              <a:gd name="T60" fmla="*/ 806 w 2043"/>
              <a:gd name="T61" fmla="*/ 1513 h 1714"/>
              <a:gd name="T62" fmla="*/ 1218 w 2043"/>
              <a:gd name="T63" fmla="*/ 1462 h 1714"/>
              <a:gd name="T64" fmla="*/ 1567 w 2043"/>
              <a:gd name="T65" fmla="*/ 1348 h 1714"/>
              <a:gd name="T66" fmla="*/ 2025 w 2043"/>
              <a:gd name="T67" fmla="*/ 1134 h 1714"/>
              <a:gd name="T68" fmla="*/ 1979 w 2043"/>
              <a:gd name="T69" fmla="*/ 1005 h 1714"/>
              <a:gd name="T70" fmla="*/ 1895 w 2043"/>
              <a:gd name="T71" fmla="*/ 997 h 1714"/>
              <a:gd name="T72" fmla="*/ 1418 w 2043"/>
              <a:gd name="T73" fmla="*/ 1064 h 1714"/>
              <a:gd name="T74" fmla="*/ 1123 w 2043"/>
              <a:gd name="T75" fmla="*/ 1127 h 1714"/>
              <a:gd name="T76" fmla="*/ 587 w 2043"/>
              <a:gd name="T77" fmla="*/ 1001 h 1714"/>
              <a:gd name="T78" fmla="*/ 168 w 2043"/>
              <a:gd name="T79" fmla="*/ 1121 h 1714"/>
              <a:gd name="T80" fmla="*/ 1424 w 2043"/>
              <a:gd name="T81" fmla="*/ 1121 h 1714"/>
              <a:gd name="T82" fmla="*/ 1801 w 2043"/>
              <a:gd name="T83" fmla="*/ 995 h 1714"/>
              <a:gd name="T84" fmla="*/ 1579 w 2043"/>
              <a:gd name="T85" fmla="*/ 1099 h 17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043" h="1714">
                <a:moveTo>
                  <a:pt x="1434" y="640"/>
                </a:moveTo>
                <a:cubicBezTo>
                  <a:pt x="1434" y="373"/>
                  <a:pt x="1434" y="373"/>
                  <a:pt x="1434" y="373"/>
                </a:cubicBezTo>
                <a:cubicBezTo>
                  <a:pt x="1362" y="373"/>
                  <a:pt x="1362" y="373"/>
                  <a:pt x="1362" y="373"/>
                </a:cubicBezTo>
                <a:cubicBezTo>
                  <a:pt x="1362" y="290"/>
                  <a:pt x="1362" y="290"/>
                  <a:pt x="1362" y="290"/>
                </a:cubicBezTo>
                <a:cubicBezTo>
                  <a:pt x="1362" y="130"/>
                  <a:pt x="1232" y="0"/>
                  <a:pt x="1072" y="0"/>
                </a:cubicBezTo>
                <a:cubicBezTo>
                  <a:pt x="913" y="0"/>
                  <a:pt x="783" y="130"/>
                  <a:pt x="783" y="290"/>
                </a:cubicBezTo>
                <a:cubicBezTo>
                  <a:pt x="783" y="373"/>
                  <a:pt x="783" y="373"/>
                  <a:pt x="783" y="373"/>
                </a:cubicBezTo>
                <a:cubicBezTo>
                  <a:pt x="711" y="373"/>
                  <a:pt x="711" y="373"/>
                  <a:pt x="711" y="373"/>
                </a:cubicBezTo>
                <a:cubicBezTo>
                  <a:pt x="711" y="640"/>
                  <a:pt x="711" y="640"/>
                  <a:pt x="711" y="640"/>
                </a:cubicBezTo>
                <a:cubicBezTo>
                  <a:pt x="711" y="840"/>
                  <a:pt x="873" y="1002"/>
                  <a:pt x="1072" y="1002"/>
                </a:cubicBezTo>
                <a:cubicBezTo>
                  <a:pt x="1272" y="1002"/>
                  <a:pt x="1434" y="840"/>
                  <a:pt x="1434" y="640"/>
                </a:cubicBezTo>
                <a:close/>
                <a:moveTo>
                  <a:pt x="981" y="569"/>
                </a:moveTo>
                <a:cubicBezTo>
                  <a:pt x="980" y="519"/>
                  <a:pt x="1021" y="477"/>
                  <a:pt x="1072" y="477"/>
                </a:cubicBezTo>
                <a:cubicBezTo>
                  <a:pt x="1122" y="477"/>
                  <a:pt x="1164" y="517"/>
                  <a:pt x="1164" y="568"/>
                </a:cubicBezTo>
                <a:cubicBezTo>
                  <a:pt x="1164" y="605"/>
                  <a:pt x="1142" y="637"/>
                  <a:pt x="1111" y="652"/>
                </a:cubicBezTo>
                <a:cubicBezTo>
                  <a:pt x="1140" y="831"/>
                  <a:pt x="1140" y="831"/>
                  <a:pt x="1140" y="831"/>
                </a:cubicBezTo>
                <a:cubicBezTo>
                  <a:pt x="1008" y="831"/>
                  <a:pt x="1008" y="831"/>
                  <a:pt x="1008" y="831"/>
                </a:cubicBezTo>
                <a:cubicBezTo>
                  <a:pt x="1036" y="652"/>
                  <a:pt x="1036" y="652"/>
                  <a:pt x="1036" y="652"/>
                </a:cubicBezTo>
                <a:cubicBezTo>
                  <a:pt x="1004" y="638"/>
                  <a:pt x="981" y="607"/>
                  <a:pt x="981" y="569"/>
                </a:cubicBezTo>
                <a:close/>
                <a:moveTo>
                  <a:pt x="1245" y="373"/>
                </a:moveTo>
                <a:cubicBezTo>
                  <a:pt x="900" y="373"/>
                  <a:pt x="900" y="373"/>
                  <a:pt x="900" y="373"/>
                </a:cubicBezTo>
                <a:cubicBezTo>
                  <a:pt x="900" y="294"/>
                  <a:pt x="900" y="294"/>
                  <a:pt x="900" y="294"/>
                </a:cubicBezTo>
                <a:cubicBezTo>
                  <a:pt x="900" y="198"/>
                  <a:pt x="977" y="121"/>
                  <a:pt x="1072" y="121"/>
                </a:cubicBezTo>
                <a:cubicBezTo>
                  <a:pt x="1168" y="121"/>
                  <a:pt x="1245" y="198"/>
                  <a:pt x="1245" y="294"/>
                </a:cubicBezTo>
                <a:lnTo>
                  <a:pt x="1245" y="373"/>
                </a:lnTo>
                <a:close/>
                <a:moveTo>
                  <a:pt x="0" y="1253"/>
                </a:moveTo>
                <a:cubicBezTo>
                  <a:pt x="5" y="1272"/>
                  <a:pt x="12" y="1292"/>
                  <a:pt x="18" y="1311"/>
                </a:cubicBezTo>
                <a:cubicBezTo>
                  <a:pt x="40" y="1290"/>
                  <a:pt x="58" y="1273"/>
                  <a:pt x="72" y="1261"/>
                </a:cubicBezTo>
                <a:cubicBezTo>
                  <a:pt x="114" y="1226"/>
                  <a:pt x="148" y="1201"/>
                  <a:pt x="177" y="1180"/>
                </a:cubicBezTo>
                <a:cubicBezTo>
                  <a:pt x="211" y="1157"/>
                  <a:pt x="238" y="1141"/>
                  <a:pt x="260" y="1128"/>
                </a:cubicBezTo>
                <a:cubicBezTo>
                  <a:pt x="273" y="1120"/>
                  <a:pt x="285" y="1113"/>
                  <a:pt x="295" y="1106"/>
                </a:cubicBezTo>
                <a:cubicBezTo>
                  <a:pt x="328" y="1084"/>
                  <a:pt x="504" y="1056"/>
                  <a:pt x="587" y="1056"/>
                </a:cubicBezTo>
                <a:cubicBezTo>
                  <a:pt x="663" y="1056"/>
                  <a:pt x="795" y="1095"/>
                  <a:pt x="853" y="1128"/>
                </a:cubicBezTo>
                <a:cubicBezTo>
                  <a:pt x="911" y="1160"/>
                  <a:pt x="1001" y="1201"/>
                  <a:pt x="1116" y="1185"/>
                </a:cubicBezTo>
                <a:cubicBezTo>
                  <a:pt x="1116" y="1185"/>
                  <a:pt x="1118" y="1185"/>
                  <a:pt x="1118" y="1185"/>
                </a:cubicBezTo>
                <a:cubicBezTo>
                  <a:pt x="1120" y="1185"/>
                  <a:pt x="1120" y="1185"/>
                  <a:pt x="1120" y="1185"/>
                </a:cubicBezTo>
                <a:cubicBezTo>
                  <a:pt x="1139" y="1179"/>
                  <a:pt x="1139" y="1179"/>
                  <a:pt x="1139" y="1179"/>
                </a:cubicBezTo>
                <a:cubicBezTo>
                  <a:pt x="1167" y="1170"/>
                  <a:pt x="1198" y="1161"/>
                  <a:pt x="1228" y="1153"/>
                </a:cubicBezTo>
                <a:cubicBezTo>
                  <a:pt x="1264" y="1144"/>
                  <a:pt x="1297" y="1137"/>
                  <a:pt x="1321" y="1137"/>
                </a:cubicBezTo>
                <a:cubicBezTo>
                  <a:pt x="1333" y="1137"/>
                  <a:pt x="1345" y="1139"/>
                  <a:pt x="1356" y="1144"/>
                </a:cubicBezTo>
                <a:cubicBezTo>
                  <a:pt x="1370" y="1149"/>
                  <a:pt x="1382" y="1157"/>
                  <a:pt x="1390" y="1169"/>
                </a:cubicBezTo>
                <a:cubicBezTo>
                  <a:pt x="1394" y="1174"/>
                  <a:pt x="1397" y="1181"/>
                  <a:pt x="1399" y="1188"/>
                </a:cubicBezTo>
                <a:cubicBezTo>
                  <a:pt x="1399" y="1189"/>
                  <a:pt x="1400" y="1191"/>
                  <a:pt x="1400" y="1192"/>
                </a:cubicBezTo>
                <a:cubicBezTo>
                  <a:pt x="1400" y="1195"/>
                  <a:pt x="1401" y="1198"/>
                  <a:pt x="1401" y="1201"/>
                </a:cubicBezTo>
                <a:cubicBezTo>
                  <a:pt x="1402" y="1221"/>
                  <a:pt x="1403" y="1229"/>
                  <a:pt x="1269" y="1267"/>
                </a:cubicBezTo>
                <a:cubicBezTo>
                  <a:pt x="1268" y="1268"/>
                  <a:pt x="1268" y="1268"/>
                  <a:pt x="1268" y="1268"/>
                </a:cubicBezTo>
                <a:cubicBezTo>
                  <a:pt x="1267" y="1268"/>
                  <a:pt x="1267" y="1268"/>
                  <a:pt x="1267" y="1268"/>
                </a:cubicBezTo>
                <a:cubicBezTo>
                  <a:pt x="1239" y="1279"/>
                  <a:pt x="1218" y="1289"/>
                  <a:pt x="1201" y="1297"/>
                </a:cubicBezTo>
                <a:cubicBezTo>
                  <a:pt x="1192" y="1302"/>
                  <a:pt x="1184" y="1306"/>
                  <a:pt x="1177" y="1309"/>
                </a:cubicBezTo>
                <a:cubicBezTo>
                  <a:pt x="1168" y="1312"/>
                  <a:pt x="1157" y="1318"/>
                  <a:pt x="1148" y="1324"/>
                </a:cubicBezTo>
                <a:cubicBezTo>
                  <a:pt x="1140" y="1328"/>
                  <a:pt x="1127" y="1336"/>
                  <a:pt x="1123" y="1337"/>
                </a:cubicBezTo>
                <a:cubicBezTo>
                  <a:pt x="1121" y="1337"/>
                  <a:pt x="1117" y="1337"/>
                  <a:pt x="1112" y="1337"/>
                </a:cubicBezTo>
                <a:cubicBezTo>
                  <a:pt x="1041" y="1337"/>
                  <a:pt x="954" y="1340"/>
                  <a:pt x="913" y="1353"/>
                </a:cubicBezTo>
                <a:cubicBezTo>
                  <a:pt x="908" y="1354"/>
                  <a:pt x="903" y="1356"/>
                  <a:pt x="898" y="1357"/>
                </a:cubicBezTo>
                <a:cubicBezTo>
                  <a:pt x="855" y="1367"/>
                  <a:pt x="802" y="1367"/>
                  <a:pt x="801" y="1367"/>
                </a:cubicBezTo>
                <a:cubicBezTo>
                  <a:pt x="801" y="1421"/>
                  <a:pt x="801" y="1421"/>
                  <a:pt x="801" y="1421"/>
                </a:cubicBezTo>
                <a:cubicBezTo>
                  <a:pt x="804" y="1421"/>
                  <a:pt x="878" y="1421"/>
                  <a:pt x="930" y="1405"/>
                </a:cubicBezTo>
                <a:cubicBezTo>
                  <a:pt x="955" y="1397"/>
                  <a:pt x="1017" y="1392"/>
                  <a:pt x="1112" y="1391"/>
                </a:cubicBezTo>
                <a:cubicBezTo>
                  <a:pt x="1119" y="1391"/>
                  <a:pt x="1123" y="1391"/>
                  <a:pt x="1125" y="1391"/>
                </a:cubicBezTo>
                <a:cubicBezTo>
                  <a:pt x="1141" y="1391"/>
                  <a:pt x="1158" y="1381"/>
                  <a:pt x="1175" y="1371"/>
                </a:cubicBezTo>
                <a:cubicBezTo>
                  <a:pt x="1183" y="1367"/>
                  <a:pt x="1192" y="1362"/>
                  <a:pt x="1198" y="1359"/>
                </a:cubicBezTo>
                <a:cubicBezTo>
                  <a:pt x="1206" y="1356"/>
                  <a:pt x="1215" y="1351"/>
                  <a:pt x="1225" y="1346"/>
                </a:cubicBezTo>
                <a:cubicBezTo>
                  <a:pt x="1241" y="1339"/>
                  <a:pt x="1260" y="1329"/>
                  <a:pt x="1286" y="1320"/>
                </a:cubicBezTo>
                <a:cubicBezTo>
                  <a:pt x="1427" y="1279"/>
                  <a:pt x="1460" y="1262"/>
                  <a:pt x="1455" y="1197"/>
                </a:cubicBezTo>
                <a:cubicBezTo>
                  <a:pt x="1455" y="1193"/>
                  <a:pt x="1455" y="1189"/>
                  <a:pt x="1454" y="1184"/>
                </a:cubicBezTo>
                <a:cubicBezTo>
                  <a:pt x="1484" y="1178"/>
                  <a:pt x="1529" y="1168"/>
                  <a:pt x="1597" y="1151"/>
                </a:cubicBezTo>
                <a:cubicBezTo>
                  <a:pt x="1600" y="1150"/>
                  <a:pt x="1600" y="1150"/>
                  <a:pt x="1600" y="1150"/>
                </a:cubicBezTo>
                <a:cubicBezTo>
                  <a:pt x="1604" y="1148"/>
                  <a:pt x="1604" y="1148"/>
                  <a:pt x="1604" y="1148"/>
                </a:cubicBezTo>
                <a:cubicBezTo>
                  <a:pt x="1656" y="1116"/>
                  <a:pt x="1712" y="1094"/>
                  <a:pt x="1764" y="1079"/>
                </a:cubicBezTo>
                <a:cubicBezTo>
                  <a:pt x="1798" y="1068"/>
                  <a:pt x="1832" y="1061"/>
                  <a:pt x="1861" y="1056"/>
                </a:cubicBezTo>
                <a:cubicBezTo>
                  <a:pt x="1870" y="1055"/>
                  <a:pt x="1879" y="1054"/>
                  <a:pt x="1888" y="1053"/>
                </a:cubicBezTo>
                <a:cubicBezTo>
                  <a:pt x="1898" y="1052"/>
                  <a:pt x="1907" y="1051"/>
                  <a:pt x="1916" y="1051"/>
                </a:cubicBezTo>
                <a:cubicBezTo>
                  <a:pt x="1924" y="1050"/>
                  <a:pt x="1932" y="1050"/>
                  <a:pt x="1939" y="1050"/>
                </a:cubicBezTo>
                <a:cubicBezTo>
                  <a:pt x="1939" y="1050"/>
                  <a:pt x="1940" y="1050"/>
                  <a:pt x="1941" y="1050"/>
                </a:cubicBezTo>
                <a:cubicBezTo>
                  <a:pt x="1965" y="1051"/>
                  <a:pt x="1977" y="1076"/>
                  <a:pt x="1983" y="1094"/>
                </a:cubicBezTo>
                <a:cubicBezTo>
                  <a:pt x="1967" y="1101"/>
                  <a:pt x="1950" y="1109"/>
                  <a:pt x="1932" y="1118"/>
                </a:cubicBezTo>
                <a:cubicBezTo>
                  <a:pt x="1791" y="1183"/>
                  <a:pt x="1601" y="1273"/>
                  <a:pt x="1581" y="1281"/>
                </a:cubicBezTo>
                <a:cubicBezTo>
                  <a:pt x="1567" y="1286"/>
                  <a:pt x="1554" y="1293"/>
                  <a:pt x="1542" y="1299"/>
                </a:cubicBezTo>
                <a:cubicBezTo>
                  <a:pt x="1527" y="1307"/>
                  <a:pt x="1512" y="1315"/>
                  <a:pt x="1502" y="1317"/>
                </a:cubicBezTo>
                <a:cubicBezTo>
                  <a:pt x="1478" y="1323"/>
                  <a:pt x="1256" y="1387"/>
                  <a:pt x="1230" y="1395"/>
                </a:cubicBezTo>
                <a:cubicBezTo>
                  <a:pt x="1219" y="1399"/>
                  <a:pt x="1207" y="1405"/>
                  <a:pt x="1191" y="1414"/>
                </a:cubicBezTo>
                <a:cubicBezTo>
                  <a:pt x="1168" y="1427"/>
                  <a:pt x="1129" y="1448"/>
                  <a:pt x="1110" y="1445"/>
                </a:cubicBezTo>
                <a:cubicBezTo>
                  <a:pt x="1081" y="1441"/>
                  <a:pt x="1031" y="1444"/>
                  <a:pt x="956" y="1449"/>
                </a:cubicBezTo>
                <a:cubicBezTo>
                  <a:pt x="911" y="1453"/>
                  <a:pt x="861" y="1456"/>
                  <a:pt x="804" y="1459"/>
                </a:cubicBezTo>
                <a:cubicBezTo>
                  <a:pt x="742" y="1461"/>
                  <a:pt x="687" y="1457"/>
                  <a:pt x="639" y="1453"/>
                </a:cubicBezTo>
                <a:cubicBezTo>
                  <a:pt x="570" y="1447"/>
                  <a:pt x="509" y="1443"/>
                  <a:pt x="450" y="1460"/>
                </a:cubicBezTo>
                <a:cubicBezTo>
                  <a:pt x="415" y="1470"/>
                  <a:pt x="366" y="1515"/>
                  <a:pt x="315" y="1572"/>
                </a:cubicBezTo>
                <a:cubicBezTo>
                  <a:pt x="287" y="1603"/>
                  <a:pt x="259" y="1638"/>
                  <a:pt x="232" y="1673"/>
                </a:cubicBezTo>
                <a:cubicBezTo>
                  <a:pt x="244" y="1687"/>
                  <a:pt x="257" y="1701"/>
                  <a:pt x="270" y="1714"/>
                </a:cubicBezTo>
                <a:cubicBezTo>
                  <a:pt x="295" y="1681"/>
                  <a:pt x="320" y="1650"/>
                  <a:pt x="344" y="1621"/>
                </a:cubicBezTo>
                <a:cubicBezTo>
                  <a:pt x="394" y="1563"/>
                  <a:pt x="439" y="1520"/>
                  <a:pt x="465" y="1512"/>
                </a:cubicBezTo>
                <a:cubicBezTo>
                  <a:pt x="515" y="1498"/>
                  <a:pt x="568" y="1502"/>
                  <a:pt x="635" y="1508"/>
                </a:cubicBezTo>
                <a:cubicBezTo>
                  <a:pt x="684" y="1512"/>
                  <a:pt x="741" y="1516"/>
                  <a:pt x="806" y="1513"/>
                </a:cubicBezTo>
                <a:cubicBezTo>
                  <a:pt x="864" y="1511"/>
                  <a:pt x="915" y="1507"/>
                  <a:pt x="960" y="1504"/>
                </a:cubicBezTo>
                <a:cubicBezTo>
                  <a:pt x="1026" y="1499"/>
                  <a:pt x="1079" y="1495"/>
                  <a:pt x="1101" y="1499"/>
                </a:cubicBezTo>
                <a:cubicBezTo>
                  <a:pt x="1138" y="1505"/>
                  <a:pt x="1182" y="1481"/>
                  <a:pt x="1218" y="1462"/>
                </a:cubicBezTo>
                <a:cubicBezTo>
                  <a:pt x="1228" y="1456"/>
                  <a:pt x="1241" y="1449"/>
                  <a:pt x="1246" y="1447"/>
                </a:cubicBezTo>
                <a:cubicBezTo>
                  <a:pt x="1271" y="1440"/>
                  <a:pt x="1492" y="1375"/>
                  <a:pt x="1514" y="1370"/>
                </a:cubicBezTo>
                <a:cubicBezTo>
                  <a:pt x="1531" y="1367"/>
                  <a:pt x="1549" y="1357"/>
                  <a:pt x="1567" y="1348"/>
                </a:cubicBezTo>
                <a:cubicBezTo>
                  <a:pt x="1578" y="1342"/>
                  <a:pt x="1590" y="1336"/>
                  <a:pt x="1601" y="1331"/>
                </a:cubicBezTo>
                <a:cubicBezTo>
                  <a:pt x="1622" y="1323"/>
                  <a:pt x="1803" y="1238"/>
                  <a:pt x="1922" y="1183"/>
                </a:cubicBezTo>
                <a:cubicBezTo>
                  <a:pt x="1978" y="1156"/>
                  <a:pt x="2020" y="1136"/>
                  <a:pt x="2025" y="1134"/>
                </a:cubicBezTo>
                <a:cubicBezTo>
                  <a:pt x="2043" y="1126"/>
                  <a:pt x="2043" y="1126"/>
                  <a:pt x="2043" y="1126"/>
                </a:cubicBezTo>
                <a:cubicBezTo>
                  <a:pt x="2041" y="1106"/>
                  <a:pt x="2041" y="1106"/>
                  <a:pt x="2041" y="1106"/>
                </a:cubicBezTo>
                <a:cubicBezTo>
                  <a:pt x="2038" y="1077"/>
                  <a:pt x="2021" y="1025"/>
                  <a:pt x="1979" y="1005"/>
                </a:cubicBezTo>
                <a:cubicBezTo>
                  <a:pt x="1968" y="1000"/>
                  <a:pt x="1957" y="996"/>
                  <a:pt x="1943" y="996"/>
                </a:cubicBezTo>
                <a:cubicBezTo>
                  <a:pt x="1943" y="996"/>
                  <a:pt x="1942" y="996"/>
                  <a:pt x="1942" y="996"/>
                </a:cubicBezTo>
                <a:cubicBezTo>
                  <a:pt x="1929" y="995"/>
                  <a:pt x="1913" y="996"/>
                  <a:pt x="1895" y="997"/>
                </a:cubicBezTo>
                <a:cubicBezTo>
                  <a:pt x="1877" y="967"/>
                  <a:pt x="1847" y="940"/>
                  <a:pt x="1801" y="940"/>
                </a:cubicBezTo>
                <a:cubicBezTo>
                  <a:pt x="1720" y="940"/>
                  <a:pt x="1558" y="1004"/>
                  <a:pt x="1483" y="1038"/>
                </a:cubicBezTo>
                <a:cubicBezTo>
                  <a:pt x="1464" y="1046"/>
                  <a:pt x="1442" y="1056"/>
                  <a:pt x="1418" y="1064"/>
                </a:cubicBezTo>
                <a:cubicBezTo>
                  <a:pt x="1398" y="1072"/>
                  <a:pt x="1377" y="1080"/>
                  <a:pt x="1356" y="1086"/>
                </a:cubicBezTo>
                <a:cubicBezTo>
                  <a:pt x="1345" y="1084"/>
                  <a:pt x="1333" y="1082"/>
                  <a:pt x="1321" y="1082"/>
                </a:cubicBezTo>
                <a:cubicBezTo>
                  <a:pt x="1269" y="1082"/>
                  <a:pt x="1192" y="1106"/>
                  <a:pt x="1123" y="1127"/>
                </a:cubicBezTo>
                <a:cubicBezTo>
                  <a:pt x="1107" y="1132"/>
                  <a:pt x="1107" y="1132"/>
                  <a:pt x="1107" y="1132"/>
                </a:cubicBezTo>
                <a:cubicBezTo>
                  <a:pt x="1010" y="1144"/>
                  <a:pt x="935" y="1111"/>
                  <a:pt x="880" y="1080"/>
                </a:cubicBezTo>
                <a:cubicBezTo>
                  <a:pt x="814" y="1044"/>
                  <a:pt x="672" y="1001"/>
                  <a:pt x="587" y="1001"/>
                </a:cubicBezTo>
                <a:cubicBezTo>
                  <a:pt x="509" y="1001"/>
                  <a:pt x="315" y="1027"/>
                  <a:pt x="265" y="1061"/>
                </a:cubicBezTo>
                <a:cubicBezTo>
                  <a:pt x="255" y="1067"/>
                  <a:pt x="245" y="1073"/>
                  <a:pt x="232" y="1081"/>
                </a:cubicBezTo>
                <a:cubicBezTo>
                  <a:pt x="215" y="1091"/>
                  <a:pt x="194" y="1103"/>
                  <a:pt x="168" y="1121"/>
                </a:cubicBezTo>
                <a:cubicBezTo>
                  <a:pt x="134" y="1143"/>
                  <a:pt x="91" y="1174"/>
                  <a:pt x="37" y="1219"/>
                </a:cubicBezTo>
                <a:cubicBezTo>
                  <a:pt x="27" y="1228"/>
                  <a:pt x="14" y="1239"/>
                  <a:pt x="0" y="1253"/>
                </a:cubicBezTo>
                <a:close/>
                <a:moveTo>
                  <a:pt x="1424" y="1121"/>
                </a:moveTo>
                <a:cubicBezTo>
                  <a:pt x="1455" y="1109"/>
                  <a:pt x="1484" y="1098"/>
                  <a:pt x="1506" y="1088"/>
                </a:cubicBezTo>
                <a:cubicBezTo>
                  <a:pt x="1516" y="1083"/>
                  <a:pt x="1527" y="1078"/>
                  <a:pt x="1540" y="1073"/>
                </a:cubicBezTo>
                <a:cubicBezTo>
                  <a:pt x="1622" y="1038"/>
                  <a:pt x="1744" y="995"/>
                  <a:pt x="1801" y="995"/>
                </a:cubicBezTo>
                <a:cubicBezTo>
                  <a:pt x="1814" y="995"/>
                  <a:pt x="1824" y="999"/>
                  <a:pt x="1832" y="1006"/>
                </a:cubicBezTo>
                <a:cubicBezTo>
                  <a:pt x="1772" y="1017"/>
                  <a:pt x="1699" y="1038"/>
                  <a:pt x="1629" y="1072"/>
                </a:cubicBezTo>
                <a:cubicBezTo>
                  <a:pt x="1612" y="1081"/>
                  <a:pt x="1596" y="1089"/>
                  <a:pt x="1579" y="1099"/>
                </a:cubicBezTo>
                <a:cubicBezTo>
                  <a:pt x="1573" y="1100"/>
                  <a:pt x="1567" y="1102"/>
                  <a:pt x="1561" y="1104"/>
                </a:cubicBezTo>
                <a:lnTo>
                  <a:pt x="1424" y="112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12767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7F7812E2-059D-CC42-B2CE-9CC65BC4B80B}"/>
              </a:ext>
            </a:extLst>
          </p:cNvPr>
          <p:cNvGrpSpPr/>
          <p:nvPr/>
        </p:nvGrpSpPr>
        <p:grpSpPr>
          <a:xfrm>
            <a:off x="2101541" y="565907"/>
            <a:ext cx="7784930" cy="1184176"/>
            <a:chOff x="6564289" y="1407238"/>
            <a:chExt cx="11278234" cy="2368351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6FC4561B-11EE-6F46-827F-41EB966FB184}"/>
                </a:ext>
              </a:extLst>
            </p:cNvPr>
            <p:cNvSpPr txBox="1"/>
            <p:nvPr/>
          </p:nvSpPr>
          <p:spPr>
            <a:xfrm>
              <a:off x="6564289" y="1867376"/>
              <a:ext cx="11278234" cy="19082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2800" b="1" i="0" u="none" strike="noStrike" kern="1200" cap="none" spc="600" normalizeH="0" baseline="0" noProof="0" dirty="0">
                  <a:ln>
                    <a:noFill/>
                  </a:ln>
                  <a:solidFill>
                    <a:srgbClr val="335B74"/>
                  </a:solidFill>
                  <a:effectLst/>
                  <a:uLnTx/>
                  <a:uFillTx/>
                  <a:latin typeface="Montserrat" charset="0"/>
                  <a:ea typeface="+mn-ea"/>
                  <a:cs typeface="+mn-cs"/>
                </a:rPr>
                <a:t>Vi har et landsdekkende leveranseapparat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0E17845E-F3C2-D747-911C-ABB4851FAA06}"/>
                </a:ext>
              </a:extLst>
            </p:cNvPr>
            <p:cNvSpPr txBox="1"/>
            <p:nvPr/>
          </p:nvSpPr>
          <p:spPr>
            <a:xfrm>
              <a:off x="9859136" y="1407238"/>
              <a:ext cx="4596322" cy="4616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00" b="0" i="0" u="none" strike="noStrike" kern="1200" cap="none" spc="60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LOKAL TILSTEDEVÆRELSE</a:t>
              </a:r>
            </a:p>
          </p:txBody>
        </p:sp>
      </p:grpSp>
      <p:pic>
        <p:nvPicPr>
          <p:cNvPr id="13" name="Bilde 12" descr="Et bilde som inneholder dyr, røyk, korall, blomst&#10;&#10;Automatisk generert beskrivelse">
            <a:extLst>
              <a:ext uri="{FF2B5EF4-FFF2-40B4-BE49-F238E27FC236}">
                <a16:creationId xmlns:a16="http://schemas.microsoft.com/office/drawing/2014/main" id="{D9452260-A6F7-4024-966A-A1E54611677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5298" y="1131063"/>
            <a:ext cx="4895853" cy="4895853"/>
          </a:xfrm>
          <a:prstGeom prst="rect">
            <a:avLst/>
          </a:prstGeom>
        </p:spPr>
      </p:pic>
      <p:pic>
        <p:nvPicPr>
          <p:cNvPr id="14" name="Bilde 13">
            <a:extLst>
              <a:ext uri="{FF2B5EF4-FFF2-40B4-BE49-F238E27FC236}">
                <a16:creationId xmlns:a16="http://schemas.microsoft.com/office/drawing/2014/main" id="{AAEC5321-7D10-47FC-90C2-ACFF3D7682A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9341" y="5515948"/>
            <a:ext cx="1551226" cy="1163420"/>
          </a:xfrm>
          <a:prstGeom prst="rect">
            <a:avLst/>
          </a:prstGeom>
        </p:spPr>
      </p:pic>
      <p:sp>
        <p:nvSpPr>
          <p:cNvPr id="25" name="TekstSylinder 24">
            <a:extLst>
              <a:ext uri="{FF2B5EF4-FFF2-40B4-BE49-F238E27FC236}">
                <a16:creationId xmlns:a16="http://schemas.microsoft.com/office/drawing/2014/main" id="{1303725E-C10E-430A-A3C2-D1C64204577E}"/>
              </a:ext>
            </a:extLst>
          </p:cNvPr>
          <p:cNvSpPr txBox="1"/>
          <p:nvPr/>
        </p:nvSpPr>
        <p:spPr>
          <a:xfrm>
            <a:off x="10499880" y="3665660"/>
            <a:ext cx="1058715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1" i="0" u="none" strike="noStrike" kern="1200" cap="none" spc="150" normalizeH="0" baseline="0" noProof="0">
                <a:ln>
                  <a:noFill/>
                </a:ln>
                <a:solidFill>
                  <a:srgbClr val="335B74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Sør-Vest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15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Kristiansand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15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Stavanger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15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Haugesund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15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Bergen</a:t>
            </a:r>
          </a:p>
        </p:txBody>
      </p:sp>
      <p:sp>
        <p:nvSpPr>
          <p:cNvPr id="28" name="TekstSylinder 27">
            <a:extLst>
              <a:ext uri="{FF2B5EF4-FFF2-40B4-BE49-F238E27FC236}">
                <a16:creationId xmlns:a16="http://schemas.microsoft.com/office/drawing/2014/main" id="{49E26C61-C69D-4422-A6DF-769581D749A6}"/>
              </a:ext>
            </a:extLst>
          </p:cNvPr>
          <p:cNvSpPr txBox="1"/>
          <p:nvPr/>
        </p:nvSpPr>
        <p:spPr>
          <a:xfrm>
            <a:off x="9589934" y="3634882"/>
            <a:ext cx="911865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1" i="0" u="none" strike="noStrike" kern="1200" cap="none" spc="150" normalizeH="0" baseline="0" noProof="0">
                <a:ln>
                  <a:noFill/>
                </a:ln>
                <a:solidFill>
                  <a:srgbClr val="335B74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Øst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15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Hamar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15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Lillehammer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15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Moelv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15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Gjøvik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15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Oslo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15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Drammen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15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Sarpsborg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15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Tønsberg</a:t>
            </a:r>
          </a:p>
        </p:txBody>
      </p:sp>
      <p:sp>
        <p:nvSpPr>
          <p:cNvPr id="29" name="TekstSylinder 28">
            <a:extLst>
              <a:ext uri="{FF2B5EF4-FFF2-40B4-BE49-F238E27FC236}">
                <a16:creationId xmlns:a16="http://schemas.microsoft.com/office/drawing/2014/main" id="{C1B73C11-2F46-42D1-8039-7BA697B61A25}"/>
              </a:ext>
            </a:extLst>
          </p:cNvPr>
          <p:cNvSpPr txBox="1"/>
          <p:nvPr/>
        </p:nvSpPr>
        <p:spPr>
          <a:xfrm>
            <a:off x="7668834" y="3634882"/>
            <a:ext cx="994259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1" i="0" u="none" strike="noStrike" kern="1200" cap="none" spc="150" normalizeH="0" baseline="0" noProof="0">
                <a:ln>
                  <a:noFill/>
                </a:ln>
                <a:solidFill>
                  <a:srgbClr val="335B74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Nord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15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Bodø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15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Lekne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15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Solvær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15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Narvik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15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Harstad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15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Lenvik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15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Tromsø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15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Honningsvåg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15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Vardø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15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Kirkenes</a:t>
            </a:r>
          </a:p>
        </p:txBody>
      </p:sp>
      <p:sp>
        <p:nvSpPr>
          <p:cNvPr id="30" name="TekstSylinder 29">
            <a:extLst>
              <a:ext uri="{FF2B5EF4-FFF2-40B4-BE49-F238E27FC236}">
                <a16:creationId xmlns:a16="http://schemas.microsoft.com/office/drawing/2014/main" id="{10EEFFB8-7D86-4990-AE89-08D142176FF9}"/>
              </a:ext>
            </a:extLst>
          </p:cNvPr>
          <p:cNvSpPr txBox="1"/>
          <p:nvPr/>
        </p:nvSpPr>
        <p:spPr>
          <a:xfrm>
            <a:off x="8533138" y="3634344"/>
            <a:ext cx="105871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1" i="0" u="none" strike="noStrike" kern="1200" cap="none" spc="150" normalizeH="0" baseline="0" noProof="0">
                <a:ln>
                  <a:noFill/>
                </a:ln>
                <a:solidFill>
                  <a:srgbClr val="335B74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Midt-Norge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15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Ålesund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15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Åndalsne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15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Molde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15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Kristiansund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15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Trondheim</a:t>
            </a:r>
          </a:p>
        </p:txBody>
      </p:sp>
      <p:sp>
        <p:nvSpPr>
          <p:cNvPr id="31" name="Rectangle 26">
            <a:extLst>
              <a:ext uri="{FF2B5EF4-FFF2-40B4-BE49-F238E27FC236}">
                <a16:creationId xmlns:a16="http://schemas.microsoft.com/office/drawing/2014/main" id="{968AA655-0AEB-407D-9FF7-21A61B6CD643}"/>
              </a:ext>
            </a:extLst>
          </p:cNvPr>
          <p:cNvSpPr/>
          <p:nvPr/>
        </p:nvSpPr>
        <p:spPr>
          <a:xfrm>
            <a:off x="7668834" y="3134795"/>
            <a:ext cx="3997377" cy="369332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1" i="0" u="none" strike="noStrike" kern="1200" cap="none" spc="300" normalizeH="0" baseline="0" noProof="0">
                <a:ln>
                  <a:noFill/>
                </a:ln>
                <a:solidFill>
                  <a:srgbClr val="335B74"/>
                </a:solidFill>
                <a:effectLst/>
                <a:uLnTx/>
                <a:uFillTx/>
                <a:latin typeface="Montserrat" charset="0"/>
                <a:ea typeface="+mn-ea"/>
                <a:cs typeface="+mn-cs"/>
              </a:rPr>
              <a:t>OVERSIKT OVER TOMA SINE KONTORER I NORGE</a:t>
            </a:r>
          </a:p>
        </p:txBody>
      </p:sp>
      <p:sp>
        <p:nvSpPr>
          <p:cNvPr id="32" name="Rectangle 26">
            <a:extLst>
              <a:ext uri="{FF2B5EF4-FFF2-40B4-BE49-F238E27FC236}">
                <a16:creationId xmlns:a16="http://schemas.microsoft.com/office/drawing/2014/main" id="{4808DE70-9242-498F-9512-CD025D7019F4}"/>
              </a:ext>
            </a:extLst>
          </p:cNvPr>
          <p:cNvSpPr/>
          <p:nvPr/>
        </p:nvSpPr>
        <p:spPr>
          <a:xfrm>
            <a:off x="7668834" y="4957350"/>
            <a:ext cx="421571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1" i="0" u="none" strike="noStrike" kern="1200" cap="none" spc="300" normalizeH="0" baseline="0" noProof="0">
                <a:ln>
                  <a:noFill/>
                </a:ln>
                <a:solidFill>
                  <a:srgbClr val="335B74"/>
                </a:solidFill>
                <a:effectLst/>
                <a:uLnTx/>
                <a:uFillTx/>
                <a:latin typeface="Montserrat" charset="0"/>
                <a:ea typeface="+mn-ea"/>
                <a:cs typeface="+mn-cs"/>
              </a:rPr>
              <a:t>OVERSIKT OVER TOMA SINE KONTORER I DANMARK</a:t>
            </a:r>
          </a:p>
        </p:txBody>
      </p:sp>
      <p:sp>
        <p:nvSpPr>
          <p:cNvPr id="33" name="TekstSylinder 32">
            <a:extLst>
              <a:ext uri="{FF2B5EF4-FFF2-40B4-BE49-F238E27FC236}">
                <a16:creationId xmlns:a16="http://schemas.microsoft.com/office/drawing/2014/main" id="{D7F99505-0705-4EB3-B272-DFDCF9A09A47}"/>
              </a:ext>
            </a:extLst>
          </p:cNvPr>
          <p:cNvSpPr txBox="1"/>
          <p:nvPr/>
        </p:nvSpPr>
        <p:spPr>
          <a:xfrm>
            <a:off x="7668834" y="5407223"/>
            <a:ext cx="1058715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1" i="0" u="none" strike="noStrike" kern="1200" cap="none" spc="150" normalizeH="0" baseline="0" noProof="0">
                <a:ln>
                  <a:noFill/>
                </a:ln>
                <a:solidFill>
                  <a:srgbClr val="335B74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Jylland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15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Aalborg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15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Aarhu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15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Herning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15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Esbjerg</a:t>
            </a:r>
          </a:p>
        </p:txBody>
      </p:sp>
      <p:sp>
        <p:nvSpPr>
          <p:cNvPr id="34" name="TekstSylinder 33">
            <a:extLst>
              <a:ext uri="{FF2B5EF4-FFF2-40B4-BE49-F238E27FC236}">
                <a16:creationId xmlns:a16="http://schemas.microsoft.com/office/drawing/2014/main" id="{5DB73400-DE70-4E2D-81CE-89EAD9CBECDE}"/>
              </a:ext>
            </a:extLst>
          </p:cNvPr>
          <p:cNvSpPr txBox="1"/>
          <p:nvPr/>
        </p:nvSpPr>
        <p:spPr>
          <a:xfrm>
            <a:off x="8533138" y="5407223"/>
            <a:ext cx="10587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1" i="0" u="none" strike="noStrike" kern="1200" cap="none" spc="150" normalizeH="0" baseline="0" noProof="0">
                <a:ln>
                  <a:noFill/>
                </a:ln>
                <a:solidFill>
                  <a:srgbClr val="335B74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Fyn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15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Odense</a:t>
            </a:r>
          </a:p>
        </p:txBody>
      </p:sp>
      <p:sp>
        <p:nvSpPr>
          <p:cNvPr id="35" name="TekstSylinder 34">
            <a:extLst>
              <a:ext uri="{FF2B5EF4-FFF2-40B4-BE49-F238E27FC236}">
                <a16:creationId xmlns:a16="http://schemas.microsoft.com/office/drawing/2014/main" id="{848EB47B-A078-49F0-AEA1-A3DDF192E858}"/>
              </a:ext>
            </a:extLst>
          </p:cNvPr>
          <p:cNvSpPr txBox="1"/>
          <p:nvPr/>
        </p:nvSpPr>
        <p:spPr>
          <a:xfrm>
            <a:off x="9589934" y="5407223"/>
            <a:ext cx="9118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1" i="0" u="none" strike="noStrike" kern="1200" cap="none" spc="150" normalizeH="0" baseline="0" noProof="0">
                <a:ln>
                  <a:noFill/>
                </a:ln>
                <a:solidFill>
                  <a:srgbClr val="335B74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Sjælland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15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København</a:t>
            </a:r>
          </a:p>
        </p:txBody>
      </p:sp>
      <p:grpSp>
        <p:nvGrpSpPr>
          <p:cNvPr id="42" name="Group 1">
            <a:extLst>
              <a:ext uri="{FF2B5EF4-FFF2-40B4-BE49-F238E27FC236}">
                <a16:creationId xmlns:a16="http://schemas.microsoft.com/office/drawing/2014/main" id="{0FEB3F6F-4F08-4F40-9D28-1436938F30EC}"/>
              </a:ext>
            </a:extLst>
          </p:cNvPr>
          <p:cNvGrpSpPr/>
          <p:nvPr/>
        </p:nvGrpSpPr>
        <p:grpSpPr>
          <a:xfrm>
            <a:off x="673018" y="2979174"/>
            <a:ext cx="5760803" cy="599815"/>
            <a:chOff x="2105580" y="5913647"/>
            <a:chExt cx="10451780" cy="1913975"/>
          </a:xfrm>
        </p:grpSpPr>
        <p:sp>
          <p:nvSpPr>
            <p:cNvPr id="43" name="Rectangle 47">
              <a:extLst>
                <a:ext uri="{FF2B5EF4-FFF2-40B4-BE49-F238E27FC236}">
                  <a16:creationId xmlns:a16="http://schemas.microsoft.com/office/drawing/2014/main" id="{DB7E74C2-804D-4F92-B0E8-BB26D9CBA29B}"/>
                </a:ext>
              </a:extLst>
            </p:cNvPr>
            <p:cNvSpPr/>
            <p:nvPr/>
          </p:nvSpPr>
          <p:spPr>
            <a:xfrm>
              <a:off x="2105582" y="5913647"/>
              <a:ext cx="3755788" cy="87543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1CADE4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Lato" panose="020F0502020204030203" pitchFamily="34" charset="0"/>
                </a:rPr>
                <a:t>10M 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1CADE4"/>
                  </a:solidFill>
                  <a:effectLst/>
                  <a:uLnTx/>
                  <a:uFillTx/>
                  <a:latin typeface="Roboto" panose="02000000000000000000" pitchFamily="2" charset="0"/>
                  <a:ea typeface="+mn-ea"/>
                  <a:cs typeface="+mn-cs"/>
                </a:rPr>
                <a:t>m²</a:t>
              </a:r>
            </a:p>
          </p:txBody>
        </p:sp>
        <p:sp>
          <p:nvSpPr>
            <p:cNvPr id="44" name="TextBox 48">
              <a:extLst>
                <a:ext uri="{FF2B5EF4-FFF2-40B4-BE49-F238E27FC236}">
                  <a16:creationId xmlns:a16="http://schemas.microsoft.com/office/drawing/2014/main" id="{E5EB69CC-02A8-4CFF-A035-A7B70195ACCC}"/>
                </a:ext>
              </a:extLst>
            </p:cNvPr>
            <p:cNvSpPr txBox="1"/>
            <p:nvPr/>
          </p:nvSpPr>
          <p:spPr>
            <a:xfrm>
              <a:off x="2105580" y="6952187"/>
              <a:ext cx="3225496" cy="8754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60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Lato" panose="020F0502020204030203" pitchFamily="34" charset="0"/>
                </a:rPr>
                <a:t>ÅRLIG DRIFT</a:t>
              </a:r>
            </a:p>
          </p:txBody>
        </p:sp>
        <p:sp>
          <p:nvSpPr>
            <p:cNvPr id="45" name="Rectangle 53">
              <a:extLst>
                <a:ext uri="{FF2B5EF4-FFF2-40B4-BE49-F238E27FC236}">
                  <a16:creationId xmlns:a16="http://schemas.microsoft.com/office/drawing/2014/main" id="{5261B0A2-7A7A-467D-B0D8-66023006BFBE}"/>
                </a:ext>
              </a:extLst>
            </p:cNvPr>
            <p:cNvSpPr/>
            <p:nvPr/>
          </p:nvSpPr>
          <p:spPr>
            <a:xfrm>
              <a:off x="6271766" y="5913647"/>
              <a:ext cx="2350900" cy="87543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1CADE4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Lato" panose="020F0502020204030203" pitchFamily="34" charset="0"/>
                </a:rPr>
                <a:t>4 000</a:t>
              </a:r>
            </a:p>
          </p:txBody>
        </p:sp>
        <p:sp>
          <p:nvSpPr>
            <p:cNvPr id="46" name="TextBox 54">
              <a:extLst>
                <a:ext uri="{FF2B5EF4-FFF2-40B4-BE49-F238E27FC236}">
                  <a16:creationId xmlns:a16="http://schemas.microsoft.com/office/drawing/2014/main" id="{2DBE1B96-B54C-486B-A7EF-08CCB219F1D5}"/>
                </a:ext>
              </a:extLst>
            </p:cNvPr>
            <p:cNvSpPr txBox="1"/>
            <p:nvPr/>
          </p:nvSpPr>
          <p:spPr>
            <a:xfrm>
              <a:off x="6271767" y="6952187"/>
              <a:ext cx="2311895" cy="8754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60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Lato" panose="020F0502020204030203" pitchFamily="34" charset="0"/>
                </a:rPr>
                <a:t>ANSATTE</a:t>
              </a:r>
            </a:p>
          </p:txBody>
        </p:sp>
        <p:sp>
          <p:nvSpPr>
            <p:cNvPr id="47" name="Rectangle 51">
              <a:extLst>
                <a:ext uri="{FF2B5EF4-FFF2-40B4-BE49-F238E27FC236}">
                  <a16:creationId xmlns:a16="http://schemas.microsoft.com/office/drawing/2014/main" id="{D5C871C2-7E6D-4D96-9A4C-08B7FE6B1383}"/>
                </a:ext>
              </a:extLst>
            </p:cNvPr>
            <p:cNvSpPr/>
            <p:nvPr/>
          </p:nvSpPr>
          <p:spPr>
            <a:xfrm>
              <a:off x="9595717" y="5913647"/>
              <a:ext cx="2777505" cy="87543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1CADE4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Lato" panose="020F0502020204030203" pitchFamily="34" charset="0"/>
                </a:rPr>
                <a:t>2,1 mrd</a:t>
              </a:r>
            </a:p>
          </p:txBody>
        </p:sp>
        <p:sp>
          <p:nvSpPr>
            <p:cNvPr id="48" name="TextBox 52">
              <a:extLst>
                <a:ext uri="{FF2B5EF4-FFF2-40B4-BE49-F238E27FC236}">
                  <a16:creationId xmlns:a16="http://schemas.microsoft.com/office/drawing/2014/main" id="{EF2BBEB0-F77F-4D3B-A103-170C61ADC049}"/>
                </a:ext>
              </a:extLst>
            </p:cNvPr>
            <p:cNvSpPr txBox="1"/>
            <p:nvPr/>
          </p:nvSpPr>
          <p:spPr>
            <a:xfrm>
              <a:off x="9606437" y="6952187"/>
              <a:ext cx="2950923" cy="8754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60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Lato" panose="020F0502020204030203" pitchFamily="34" charset="0"/>
                </a:rPr>
                <a:t>OMSETN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551343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TextBox 90">
            <a:extLst>
              <a:ext uri="{FF2B5EF4-FFF2-40B4-BE49-F238E27FC236}">
                <a16:creationId xmlns:a16="http://schemas.microsoft.com/office/drawing/2014/main" id="{74246E2C-7BE1-0149-870E-7C9B5CAD9F10}"/>
              </a:ext>
            </a:extLst>
          </p:cNvPr>
          <p:cNvSpPr txBox="1"/>
          <p:nvPr/>
        </p:nvSpPr>
        <p:spPr>
          <a:xfrm>
            <a:off x="948004" y="2026087"/>
            <a:ext cx="7373875" cy="18709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228543" rtl="0" eaLnBrk="1" fontAlgn="auto" latinLnBrk="0" hangingPunct="1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400" dirty="0">
                <a:latin typeface="Calibri" panose="020F0502020204030204" pitchFamily="34" charset="0"/>
                <a:cs typeface="Calibri" panose="020F0502020204030204" pitchFamily="34" charset="0"/>
              </a:rPr>
              <a:t>Fast arbeidssted på lokasjon</a:t>
            </a:r>
          </a:p>
          <a:p>
            <a:pPr marL="285750" marR="0" lvl="0" indent="-285750" algn="l" defTabSz="228543" rtl="0" eaLnBrk="1" fontAlgn="auto" latinLnBrk="0" hangingPunct="1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400" dirty="0">
                <a:latin typeface="Calibri" panose="020F0502020204030204" pitchFamily="34" charset="0"/>
                <a:cs typeface="Calibri" panose="020F0502020204030204" pitchFamily="34" charset="0"/>
              </a:rPr>
              <a:t>100% stilling</a:t>
            </a:r>
          </a:p>
          <a:p>
            <a:pPr marL="285750" marR="0" lvl="0" indent="-285750" algn="l" defTabSz="228543" rtl="0" eaLnBrk="1" fontAlgn="auto" latinLnBrk="0" hangingPunct="1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400" dirty="0">
                <a:latin typeface="Calibri" panose="020F0502020204030204" pitchFamily="34" charset="0"/>
                <a:cs typeface="Calibri" panose="020F0502020204030204" pitchFamily="34" charset="0"/>
              </a:rPr>
              <a:t>God kunnskap om alle tjenester som leveres</a:t>
            </a:r>
          </a:p>
          <a:p>
            <a:pPr marL="285750" marR="0" lvl="0" indent="-285750" algn="l" defTabSz="228543" rtl="0" eaLnBrk="1" fontAlgn="auto" latinLnBrk="0" hangingPunct="1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400" dirty="0">
                <a:latin typeface="Calibri" panose="020F0502020204030204" pitchFamily="34" charset="0"/>
                <a:cs typeface="Calibri" panose="020F0502020204030204" pitchFamily="34" charset="0"/>
              </a:rPr>
              <a:t>KAM-rolle med erfaring fra tilsvarene oppdrag fra tidligere i henhold til Ruters tjenestebehov</a:t>
            </a:r>
          </a:p>
          <a:p>
            <a:pPr marL="285750" marR="0" lvl="0" indent="-285750" algn="l" defTabSz="228543" rtl="0" eaLnBrk="1" fontAlgn="auto" latinLnBrk="0" hangingPunct="1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400" dirty="0">
                <a:latin typeface="Calibri" panose="020F0502020204030204" pitchFamily="34" charset="0"/>
                <a:cs typeface="Calibri" panose="020F0502020204030204" pitchFamily="34" charset="0"/>
              </a:rPr>
              <a:t>Godt digitalt rapporteringsverktøy for enkel rapportering og kommunikasjon mellom Oppdragsgiver og Leverandør</a:t>
            </a:r>
          </a:p>
          <a:p>
            <a:pPr marL="285750" marR="0" lvl="0" indent="-285750" algn="l" defTabSz="228543" rtl="0" eaLnBrk="1" fontAlgn="auto" latinLnBrk="0" hangingPunct="1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nb-NO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extBox 19">
            <a:extLst>
              <a:ext uri="{FF2B5EF4-FFF2-40B4-BE49-F238E27FC236}">
                <a16:creationId xmlns:a16="http://schemas.microsoft.com/office/drawing/2014/main" id="{24666320-25CF-D845-9263-B4DA1B3F79F3}"/>
              </a:ext>
            </a:extLst>
          </p:cNvPr>
          <p:cNvSpPr txBox="1"/>
          <p:nvPr/>
        </p:nvSpPr>
        <p:spPr>
          <a:xfrm>
            <a:off x="948004" y="847289"/>
            <a:ext cx="11148922" cy="876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indent="0" fontAlgn="auto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b="1" dirty="0">
                <a:solidFill>
                  <a:srgbClr val="335B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 Hvordan bør en Operativ Site Manager rolle tilrettelegges og struktureres på best</a:t>
            </a:r>
          </a:p>
          <a:p>
            <a:pPr marR="0" lvl="0" indent="0" fontAlgn="auto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b="1" dirty="0">
                <a:solidFill>
                  <a:srgbClr val="335B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lig måte for å dekke Ruters behov og minimere administrativt arbeid og oppfølging</a:t>
            </a:r>
          </a:p>
          <a:p>
            <a:pPr marR="0" lvl="0" indent="0" fontAlgn="auto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b="1" dirty="0">
                <a:solidFill>
                  <a:srgbClr val="335B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 forbindelse med tjenestene i anskaffelsen?</a:t>
            </a:r>
            <a:endParaRPr lang="nb-NO" sz="2400" b="1" dirty="0">
              <a:solidFill>
                <a:srgbClr val="335B7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Plassholder for bilde 14">
            <a:extLst>
              <a:ext uri="{FF2B5EF4-FFF2-40B4-BE49-F238E27FC236}">
                <a16:creationId xmlns:a16="http://schemas.microsoft.com/office/drawing/2014/main" id="{89D58187-5937-4E1A-A4C5-3E823CF5CF4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73" r="52524"/>
          <a:stretch/>
        </p:blipFill>
        <p:spPr>
          <a:xfrm>
            <a:off x="8797886" y="2026087"/>
            <a:ext cx="3118308" cy="4661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35696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TextBox 90">
            <a:extLst>
              <a:ext uri="{FF2B5EF4-FFF2-40B4-BE49-F238E27FC236}">
                <a16:creationId xmlns:a16="http://schemas.microsoft.com/office/drawing/2014/main" id="{74246E2C-7BE1-0149-870E-7C9B5CAD9F10}"/>
              </a:ext>
            </a:extLst>
          </p:cNvPr>
          <p:cNvSpPr txBox="1"/>
          <p:nvPr/>
        </p:nvSpPr>
        <p:spPr>
          <a:xfrm>
            <a:off x="948003" y="2026087"/>
            <a:ext cx="8355387" cy="1358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228543" rtl="0" eaLnBrk="1" fontAlgn="auto" latinLnBrk="0" hangingPunct="1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400" dirty="0">
                <a:latin typeface="Calibri" panose="020F0502020204030204" pitchFamily="34" charset="0"/>
                <a:cs typeface="Calibri" panose="020F0502020204030204" pitchFamily="34" charset="0"/>
              </a:rPr>
              <a:t>100% stilling</a:t>
            </a:r>
          </a:p>
          <a:p>
            <a:pPr marL="285750" marR="0" lvl="0" indent="-285750" algn="l" defTabSz="228543" rtl="0" eaLnBrk="1" fontAlgn="auto" latinLnBrk="0" hangingPunct="1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400" dirty="0">
                <a:latin typeface="Calibri" panose="020F0502020204030204" pitchFamily="34" charset="0"/>
                <a:cs typeface="Calibri" panose="020F0502020204030204" pitchFamily="34" charset="0"/>
              </a:rPr>
              <a:t>Fast vikar på kontrakten som kjenner godt til kontrakten</a:t>
            </a:r>
          </a:p>
          <a:p>
            <a:pPr marL="285750" marR="0" lvl="0" indent="-285750" algn="l" defTabSz="228543" rtl="0" eaLnBrk="1" fontAlgn="auto" latinLnBrk="0" hangingPunct="1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400" dirty="0">
                <a:latin typeface="Calibri" panose="020F0502020204030204" pitchFamily="34" charset="0"/>
                <a:cs typeface="Calibri" panose="020F0502020204030204" pitchFamily="34" charset="0"/>
              </a:rPr>
              <a:t>Serviceinnstilt</a:t>
            </a:r>
          </a:p>
          <a:p>
            <a:pPr marL="285750" marR="0" lvl="0" indent="-285750" algn="l" defTabSz="228543" rtl="0" eaLnBrk="1" fontAlgn="auto" latinLnBrk="0" hangingPunct="1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400" dirty="0">
                <a:latin typeface="Calibri" panose="020F0502020204030204" pitchFamily="34" charset="0"/>
                <a:cs typeface="Calibri" panose="020F0502020204030204" pitchFamily="34" charset="0"/>
              </a:rPr>
              <a:t>Tett dialog med Site Manager</a:t>
            </a:r>
          </a:p>
          <a:p>
            <a:pPr marL="285750" marR="0" lvl="0" indent="-285750" algn="l" defTabSz="228543" rtl="0" eaLnBrk="1" fontAlgn="auto" latinLnBrk="0" hangingPunct="1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400" dirty="0">
                <a:latin typeface="Calibri" panose="020F0502020204030204" pitchFamily="34" charset="0"/>
                <a:cs typeface="Calibri" panose="020F0502020204030204" pitchFamily="34" charset="0"/>
              </a:rPr>
              <a:t>Samme digitale rapporteringsverktøy og –portal som Site Manager </a:t>
            </a:r>
          </a:p>
        </p:txBody>
      </p:sp>
      <p:sp>
        <p:nvSpPr>
          <p:cNvPr id="5" name="TextBox 19">
            <a:extLst>
              <a:ext uri="{FF2B5EF4-FFF2-40B4-BE49-F238E27FC236}">
                <a16:creationId xmlns:a16="http://schemas.microsoft.com/office/drawing/2014/main" id="{24666320-25CF-D845-9263-B4DA1B3F79F3}"/>
              </a:ext>
            </a:extLst>
          </p:cNvPr>
          <p:cNvSpPr txBox="1"/>
          <p:nvPr/>
        </p:nvSpPr>
        <p:spPr>
          <a:xfrm>
            <a:off x="948004" y="847289"/>
            <a:ext cx="11148922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indent="0" fontAlgn="auto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b="1" dirty="0">
                <a:solidFill>
                  <a:srgbClr val="335B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. Det ønskes innspill fra leverandør om hvordan en resepsjonstjeneste på best mulig</a:t>
            </a:r>
          </a:p>
          <a:p>
            <a:pPr marR="0" lvl="0" indent="0" fontAlgn="auto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b="1" dirty="0">
                <a:solidFill>
                  <a:srgbClr val="335B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åte bør legges opp for å dekke Ruters behov.</a:t>
            </a:r>
            <a:endParaRPr lang="nb-NO" sz="2400" b="1" dirty="0">
              <a:solidFill>
                <a:srgbClr val="335B7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D2EE70B0-B9D8-4BD0-B260-402C68B559D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85" t="42108" r="-134" b="3987"/>
          <a:stretch/>
        </p:blipFill>
        <p:spPr>
          <a:xfrm>
            <a:off x="2527690" y="3680245"/>
            <a:ext cx="7136619" cy="2992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1792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TextBox 90">
            <a:extLst>
              <a:ext uri="{FF2B5EF4-FFF2-40B4-BE49-F238E27FC236}">
                <a16:creationId xmlns:a16="http://schemas.microsoft.com/office/drawing/2014/main" id="{74246E2C-7BE1-0149-870E-7C9B5CAD9F10}"/>
              </a:ext>
            </a:extLst>
          </p:cNvPr>
          <p:cNvSpPr txBox="1"/>
          <p:nvPr/>
        </p:nvSpPr>
        <p:spPr>
          <a:xfrm>
            <a:off x="948004" y="2026087"/>
            <a:ext cx="8791614" cy="26404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228543" rtl="0" eaLnBrk="1" fontAlgn="auto" latinLnBrk="0" hangingPunct="1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nb-NO" sz="1400" b="1" dirty="0">
                <a:solidFill>
                  <a:srgbClr val="335B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antine</a:t>
            </a:r>
          </a:p>
          <a:p>
            <a:pPr marL="285750" marR="0" lvl="0" indent="-285750" algn="l" defTabSz="228543" rtl="0" eaLnBrk="1" fontAlgn="auto" latinLnBrk="0" hangingPunct="1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400" dirty="0">
                <a:latin typeface="Calibri" panose="020F0502020204030204" pitchFamily="34" charset="0"/>
                <a:cs typeface="Calibri" panose="020F0502020204030204" pitchFamily="34" charset="0"/>
              </a:rPr>
              <a:t>Viktig med god og tett dialog for å kunne tilpasse bemanningen etter behov</a:t>
            </a:r>
          </a:p>
          <a:p>
            <a:pPr marL="285750" marR="0" lvl="0" indent="-285750" algn="l" defTabSz="228543" rtl="0" eaLnBrk="1" fontAlgn="auto" latinLnBrk="0" hangingPunct="1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400" dirty="0">
                <a:latin typeface="Calibri" panose="020F0502020204030204" pitchFamily="34" charset="0"/>
                <a:cs typeface="Calibri" panose="020F0502020204030204" pitchFamily="34" charset="0"/>
              </a:rPr>
              <a:t>Viktig å se endring i brukermønster over en lengre periode for å se (1-3 mnd.) om endringen er vedvarende</a:t>
            </a:r>
          </a:p>
          <a:p>
            <a:pPr marL="285750" marR="0" lvl="0" indent="-285750" algn="l" defTabSz="228543" rtl="0" eaLnBrk="1" fontAlgn="auto" latinLnBrk="0" hangingPunct="1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400" dirty="0">
                <a:latin typeface="Calibri" panose="020F0502020204030204" pitchFamily="34" charset="0"/>
                <a:cs typeface="Calibri" panose="020F0502020204030204" pitchFamily="34" charset="0"/>
              </a:rPr>
              <a:t>Konsept tilpasses basert på antall gjester/brukere</a:t>
            </a:r>
          </a:p>
          <a:p>
            <a:pPr marL="285750" marR="0" lvl="0" indent="-285750" algn="l" defTabSz="228543" rtl="0" eaLnBrk="1" fontAlgn="auto" latinLnBrk="0" hangingPunct="1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400" dirty="0">
                <a:latin typeface="Calibri" panose="020F0502020204030204" pitchFamily="34" charset="0"/>
                <a:cs typeface="Calibri" panose="020F0502020204030204" pitchFamily="34" charset="0"/>
              </a:rPr>
              <a:t>Oppdragsgivers pris vil justeres basert på antall årsverk som arbeider i kantinen</a:t>
            </a:r>
          </a:p>
          <a:p>
            <a:pPr marL="285750" marR="0" lvl="0" indent="-285750" algn="l" defTabSz="228543" rtl="0" eaLnBrk="1" fontAlgn="auto" latinLnBrk="0" hangingPunct="1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400" dirty="0">
                <a:latin typeface="Calibri" panose="020F0502020204030204" pitchFamily="34" charset="0"/>
                <a:cs typeface="Calibri" panose="020F0502020204030204" pitchFamily="34" charset="0"/>
              </a:rPr>
              <a:t>Utsalgspriser kan justeres basert på konsept</a:t>
            </a:r>
          </a:p>
          <a:p>
            <a:pPr marL="285750" marR="0" lvl="0" indent="-285750" algn="l" defTabSz="228543" rtl="0" eaLnBrk="1" fontAlgn="auto" latinLnBrk="0" hangingPunct="1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nb-NO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R="0" lvl="0" algn="l" defTabSz="228543" rtl="0" eaLnBrk="1" fontAlgn="auto" latinLnBrk="0" hangingPunct="1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nb-NO" sz="1400" b="1" dirty="0">
                <a:solidFill>
                  <a:srgbClr val="335B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nhold</a:t>
            </a:r>
          </a:p>
          <a:p>
            <a:pPr marL="285750" marR="0" lvl="0" indent="-285750" algn="l" defTabSz="228543" rtl="0" eaLnBrk="1" fontAlgn="auto" latinLnBrk="0" hangingPunct="1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400" dirty="0">
                <a:latin typeface="Calibri" panose="020F0502020204030204" pitchFamily="34" charset="0"/>
                <a:cs typeface="Calibri" panose="020F0502020204030204" pitchFamily="34" charset="0"/>
              </a:rPr>
              <a:t>En fleksibel prismodell hvor man kan opp- og nedjustere ressursbruk basert på bruksmønster</a:t>
            </a:r>
          </a:p>
          <a:p>
            <a:pPr marL="285750" marR="0" lvl="0" indent="-285750" algn="l" defTabSz="228543" rtl="0" eaLnBrk="1" fontAlgn="auto" latinLnBrk="0" hangingPunct="1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400" dirty="0">
                <a:latin typeface="Calibri" panose="020F0502020204030204" pitchFamily="34" charset="0"/>
                <a:cs typeface="Calibri" panose="020F0502020204030204" pitchFamily="34" charset="0"/>
              </a:rPr>
              <a:t>Avdekke hvilke rom på bygget som ikke krever like hyppig renhold</a:t>
            </a:r>
          </a:p>
        </p:txBody>
      </p:sp>
      <p:sp>
        <p:nvSpPr>
          <p:cNvPr id="5" name="TextBox 19">
            <a:extLst>
              <a:ext uri="{FF2B5EF4-FFF2-40B4-BE49-F238E27FC236}">
                <a16:creationId xmlns:a16="http://schemas.microsoft.com/office/drawing/2014/main" id="{24666320-25CF-D845-9263-B4DA1B3F79F3}"/>
              </a:ext>
            </a:extLst>
          </p:cNvPr>
          <p:cNvSpPr txBox="1"/>
          <p:nvPr/>
        </p:nvSpPr>
        <p:spPr>
          <a:xfrm>
            <a:off x="948004" y="847289"/>
            <a:ext cx="11148922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indent="0" fontAlgn="auto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b="1" dirty="0">
                <a:solidFill>
                  <a:srgbClr val="335B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. Hvordan tilrettelegger leverandøren for en dynamisk modell, derav også prismodell</a:t>
            </a:r>
          </a:p>
          <a:p>
            <a:pPr marR="0" lvl="0" indent="0" fontAlgn="auto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b="1" dirty="0">
                <a:solidFill>
                  <a:srgbClr val="335B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undt den nye «normalen» med færre brukere av kontorlokalene og kantinetjenester?</a:t>
            </a:r>
          </a:p>
        </p:txBody>
      </p:sp>
    </p:spTree>
    <p:extLst>
      <p:ext uri="{BB962C8B-B14F-4D97-AF65-F5344CB8AC3E}">
        <p14:creationId xmlns:p14="http://schemas.microsoft.com/office/powerpoint/2010/main" val="25864897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C0817F8-CC8D-4E31-B7B7-0E51074AB9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7947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2" imgH="623" progId="TCLayout.ActiveDocument.1">
                  <p:embed/>
                </p:oleObj>
              </mc:Choice>
              <mc:Fallback>
                <p:oleObj name="think-cell Slide" r:id="rId3" imgW="622" imgH="623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C0817F8-CC8D-4E31-B7B7-0E51074AB9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1" name="TextBox 90">
            <a:extLst>
              <a:ext uri="{FF2B5EF4-FFF2-40B4-BE49-F238E27FC236}">
                <a16:creationId xmlns:a16="http://schemas.microsoft.com/office/drawing/2014/main" id="{74246E2C-7BE1-0149-870E-7C9B5CAD9F10}"/>
              </a:ext>
            </a:extLst>
          </p:cNvPr>
          <p:cNvSpPr txBox="1"/>
          <p:nvPr/>
        </p:nvSpPr>
        <p:spPr>
          <a:xfrm>
            <a:off x="948004" y="2026087"/>
            <a:ext cx="9026506" cy="5885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228543" rtl="0" eaLnBrk="1" fontAlgn="auto" latinLnBrk="0" hangingPunct="1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nb-NO" sz="1400" dirty="0">
                <a:latin typeface="Calibri" panose="020F0502020204030204" pitchFamily="34" charset="0"/>
                <a:cs typeface="Calibri" panose="020F0502020204030204" pitchFamily="34" charset="0"/>
              </a:rPr>
              <a:t>Vi ser for oss SLA med KPI-justering på kantine-, renhold-, og vaktmestertjenester. Forslag til måling er brukertilfredshetundersøkelse med krav til score </a:t>
            </a:r>
            <a:r>
              <a:rPr lang="nb-NO" sz="1400" i="1" dirty="0">
                <a:latin typeface="Calibri" panose="020F0502020204030204" pitchFamily="34" charset="0"/>
                <a:cs typeface="Calibri" panose="020F0502020204030204" pitchFamily="34" charset="0"/>
              </a:rPr>
              <a:t>«</a:t>
            </a:r>
            <a:r>
              <a:rPr lang="nb-NO" sz="1400" i="1" dirty="0" err="1">
                <a:latin typeface="Calibri" panose="020F0502020204030204" pitchFamily="34" charset="0"/>
                <a:cs typeface="Calibri" panose="020F0502020204030204" pitchFamily="34" charset="0"/>
              </a:rPr>
              <a:t>X</a:t>
            </a:r>
            <a:r>
              <a:rPr lang="nb-NO" sz="1400" i="1" dirty="0">
                <a:latin typeface="Calibri" panose="020F0502020204030204" pitchFamily="34" charset="0"/>
                <a:cs typeface="Calibri" panose="020F0502020204030204" pitchFamily="34" charset="0"/>
              </a:rPr>
              <a:t>».</a:t>
            </a:r>
          </a:p>
        </p:txBody>
      </p:sp>
      <p:sp>
        <p:nvSpPr>
          <p:cNvPr id="5" name="TextBox 19">
            <a:extLst>
              <a:ext uri="{FF2B5EF4-FFF2-40B4-BE49-F238E27FC236}">
                <a16:creationId xmlns:a16="http://schemas.microsoft.com/office/drawing/2014/main" id="{24666320-25CF-D845-9263-B4DA1B3F79F3}"/>
              </a:ext>
            </a:extLst>
          </p:cNvPr>
          <p:cNvSpPr txBox="1"/>
          <p:nvPr/>
        </p:nvSpPr>
        <p:spPr>
          <a:xfrm>
            <a:off x="948004" y="847289"/>
            <a:ext cx="11148922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indent="0" fontAlgn="auto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b="1" dirty="0">
                <a:solidFill>
                  <a:srgbClr val="335B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. For hvilke tjenesteområder anbefaler/benytter leverandør SLA, derav KPI styring?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532E3B3E-AA73-4A9C-A025-BFBFA8B81E7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1"/>
          <a:stretch/>
        </p:blipFill>
        <p:spPr>
          <a:xfrm>
            <a:off x="948004" y="3623572"/>
            <a:ext cx="2995713" cy="2051954"/>
          </a:xfrm>
          <a:prstGeom prst="rect">
            <a:avLst/>
          </a:prstGeom>
        </p:spPr>
      </p:pic>
      <p:pic>
        <p:nvPicPr>
          <p:cNvPr id="8" name="Bilde 7">
            <a:extLst>
              <a:ext uri="{FF2B5EF4-FFF2-40B4-BE49-F238E27FC236}">
                <a16:creationId xmlns:a16="http://schemas.microsoft.com/office/drawing/2014/main" id="{E1470BC2-6BB6-4C45-9EFA-FA0BB56178E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5267" y="3623572"/>
            <a:ext cx="2995713" cy="2051954"/>
          </a:xfrm>
          <a:prstGeom prst="rect">
            <a:avLst/>
          </a:prstGeom>
        </p:spPr>
      </p:pic>
      <p:pic>
        <p:nvPicPr>
          <p:cNvPr id="6" name="Bilde 5">
            <a:extLst>
              <a:ext uri="{FF2B5EF4-FFF2-40B4-BE49-F238E27FC236}">
                <a16:creationId xmlns:a16="http://schemas.microsoft.com/office/drawing/2014/main" id="{B032C966-B587-41E0-B359-8C663667015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5"/>
          <a:stretch/>
        </p:blipFill>
        <p:spPr>
          <a:xfrm>
            <a:off x="8562530" y="3623572"/>
            <a:ext cx="2995713" cy="2046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96536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TextBox 90">
            <a:extLst>
              <a:ext uri="{FF2B5EF4-FFF2-40B4-BE49-F238E27FC236}">
                <a16:creationId xmlns:a16="http://schemas.microsoft.com/office/drawing/2014/main" id="{74246E2C-7BE1-0149-870E-7C9B5CAD9F10}"/>
              </a:ext>
            </a:extLst>
          </p:cNvPr>
          <p:cNvSpPr txBox="1"/>
          <p:nvPr/>
        </p:nvSpPr>
        <p:spPr>
          <a:xfrm>
            <a:off x="948004" y="2026087"/>
            <a:ext cx="9999629" cy="8450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228543" rtl="0" eaLnBrk="1" fontAlgn="auto" latinLnBrk="0" hangingPunct="1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400" dirty="0">
                <a:latin typeface="Calibri" panose="020F0502020204030204" pitchFamily="34" charset="0"/>
                <a:cs typeface="Calibri" panose="020F0502020204030204" pitchFamily="34" charset="0"/>
              </a:rPr>
              <a:t>Innovasjonsforum med deltagere fra Oppdragsgiver og Leverandør med faste møter</a:t>
            </a:r>
          </a:p>
          <a:p>
            <a:pPr marL="285750" marR="0" lvl="0" indent="-285750" algn="l" defTabSz="228543" rtl="0" eaLnBrk="1" fontAlgn="auto" latinLnBrk="0" hangingPunct="1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400" dirty="0">
                <a:latin typeface="Calibri" panose="020F0502020204030204" pitchFamily="34" charset="0"/>
                <a:cs typeface="Calibri" panose="020F0502020204030204" pitchFamily="34" charset="0"/>
              </a:rPr>
              <a:t>Enighet om pilotprosjekter på lokasjon før det implementeres som en fast del av leveransen</a:t>
            </a:r>
          </a:p>
          <a:p>
            <a:pPr marL="285750" marR="0" lvl="0" indent="-285750" algn="l" defTabSz="228543" rtl="0" eaLnBrk="1" fontAlgn="auto" latinLnBrk="0" hangingPunct="1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400" dirty="0">
                <a:latin typeface="Calibri" panose="020F0502020204030204" pitchFamily="34" charset="0"/>
                <a:cs typeface="Calibri" panose="020F0502020204030204" pitchFamily="34" charset="0"/>
              </a:rPr>
              <a:t>Avtale KPI’er knyttet til innovasjon</a:t>
            </a:r>
          </a:p>
        </p:txBody>
      </p:sp>
      <p:sp>
        <p:nvSpPr>
          <p:cNvPr id="5" name="TextBox 19">
            <a:extLst>
              <a:ext uri="{FF2B5EF4-FFF2-40B4-BE49-F238E27FC236}">
                <a16:creationId xmlns:a16="http://schemas.microsoft.com/office/drawing/2014/main" id="{24666320-25CF-D845-9263-B4DA1B3F79F3}"/>
              </a:ext>
            </a:extLst>
          </p:cNvPr>
          <p:cNvSpPr txBox="1"/>
          <p:nvPr/>
        </p:nvSpPr>
        <p:spPr>
          <a:xfrm>
            <a:off x="948004" y="847289"/>
            <a:ext cx="11148922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indent="0" fontAlgn="auto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b="1" dirty="0">
                <a:solidFill>
                  <a:srgbClr val="335B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. Hvordan sikrer leverandøren innovasjon og tilbud av det siste innen tjenester og</a:t>
            </a:r>
          </a:p>
          <a:p>
            <a:pPr marR="0" lvl="0" indent="0" fontAlgn="auto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b="1" dirty="0">
                <a:solidFill>
                  <a:srgbClr val="335B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tstyr i løpet av avtaleperioden? </a:t>
            </a:r>
          </a:p>
        </p:txBody>
      </p:sp>
      <p:pic>
        <p:nvPicPr>
          <p:cNvPr id="4" name="Plassholder for bilde 2">
            <a:extLst>
              <a:ext uri="{FF2B5EF4-FFF2-40B4-BE49-F238E27FC236}">
                <a16:creationId xmlns:a16="http://schemas.microsoft.com/office/drawing/2014/main" id="{3DD7B730-FA4E-41B3-962C-DE8818F3386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6961" r="26961"/>
          <a:stretch>
            <a:fillRect/>
          </a:stretch>
        </p:blipFill>
        <p:spPr>
          <a:xfrm>
            <a:off x="3376034" y="3573980"/>
            <a:ext cx="2130949" cy="257334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pic>
        <p:nvPicPr>
          <p:cNvPr id="6" name="Plassholder for bilde 5">
            <a:extLst>
              <a:ext uri="{FF2B5EF4-FFF2-40B4-BE49-F238E27FC236}">
                <a16:creationId xmlns:a16="http://schemas.microsoft.com/office/drawing/2014/main" id="{12DB21FE-E746-4B4A-993E-702F876AA1E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5830" r="15830"/>
          <a:stretch>
            <a:fillRect/>
          </a:stretch>
        </p:blipFill>
        <p:spPr>
          <a:xfrm>
            <a:off x="948004" y="3573980"/>
            <a:ext cx="2130949" cy="2573347"/>
          </a:xfrm>
          <a:prstGeom prst="rect">
            <a:avLst/>
          </a:prstGeom>
        </p:spPr>
      </p:pic>
      <p:pic>
        <p:nvPicPr>
          <p:cNvPr id="7" name="Plassholder for bilde 2">
            <a:extLst>
              <a:ext uri="{FF2B5EF4-FFF2-40B4-BE49-F238E27FC236}">
                <a16:creationId xmlns:a16="http://schemas.microsoft.com/office/drawing/2014/main" id="{B3704104-25BE-4038-95A9-771843EF3EDB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26681" r="26681"/>
          <a:stretch>
            <a:fillRect/>
          </a:stretch>
        </p:blipFill>
        <p:spPr>
          <a:xfrm>
            <a:off x="5804064" y="3573980"/>
            <a:ext cx="2130949" cy="257334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pic>
        <p:nvPicPr>
          <p:cNvPr id="8" name="Bilde 7">
            <a:extLst>
              <a:ext uri="{FF2B5EF4-FFF2-40B4-BE49-F238E27FC236}">
                <a16:creationId xmlns:a16="http://schemas.microsoft.com/office/drawing/2014/main" id="{594D9C5E-C22D-423F-A4D9-F3D4D0A1B6A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184" r="3980"/>
          <a:stretch/>
        </p:blipFill>
        <p:spPr>
          <a:xfrm>
            <a:off x="8232094" y="3573980"/>
            <a:ext cx="2130949" cy="2573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2768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TextBox 90">
            <a:extLst>
              <a:ext uri="{FF2B5EF4-FFF2-40B4-BE49-F238E27FC236}">
                <a16:creationId xmlns:a16="http://schemas.microsoft.com/office/drawing/2014/main" id="{74246E2C-7BE1-0149-870E-7C9B5CAD9F10}"/>
              </a:ext>
            </a:extLst>
          </p:cNvPr>
          <p:cNvSpPr txBox="1"/>
          <p:nvPr/>
        </p:nvSpPr>
        <p:spPr>
          <a:xfrm>
            <a:off x="948005" y="2026087"/>
            <a:ext cx="7098716" cy="2896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228543" rtl="0" eaLnBrk="1" fontAlgn="auto" latinLnBrk="0" hangingPunct="1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nb-NO" sz="1400" dirty="0">
                <a:latin typeface="Calibri" panose="020F0502020204030204" pitchFamily="34" charset="0"/>
                <a:cs typeface="Calibri" panose="020F0502020204030204" pitchFamily="34" charset="0"/>
              </a:rPr>
              <a:t>Vi har et samarbeid med blant annet Energy Control og </a:t>
            </a:r>
            <a:r>
              <a:rPr lang="nb-NO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PropTech</a:t>
            </a:r>
            <a:r>
              <a:rPr lang="nb-NO" sz="1400" dirty="0">
                <a:latin typeface="Calibri" panose="020F0502020204030204" pitchFamily="34" charset="0"/>
                <a:cs typeface="Calibri" panose="020F0502020204030204" pitchFamily="34" charset="0"/>
              </a:rPr>
              <a:t> Bergen for å gjøre bygg smartere ved bruk av </a:t>
            </a:r>
            <a:r>
              <a:rPr lang="nb-NO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sensorikk</a:t>
            </a:r>
            <a:r>
              <a:rPr lang="nb-NO" sz="1400" dirty="0">
                <a:latin typeface="Calibri" panose="020F0502020204030204" pitchFamily="34" charset="0"/>
                <a:cs typeface="Calibri" panose="020F0502020204030204" pitchFamily="34" charset="0"/>
              </a:rPr>
              <a:t> og </a:t>
            </a:r>
            <a:r>
              <a:rPr lang="nb-NO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IoT</a:t>
            </a:r>
            <a:r>
              <a:rPr lang="nb-NO" sz="1400" dirty="0">
                <a:latin typeface="Calibri" panose="020F0502020204030204" pitchFamily="34" charset="0"/>
                <a:cs typeface="Calibri" panose="020F0502020204030204" pitchFamily="34" charset="0"/>
              </a:rPr>
              <a:t>. Dette samarbeidet har som mål å gjøre arbeidsdagen til gårdeiere og leietakere enklere og mer effektiv. </a:t>
            </a:r>
          </a:p>
          <a:p>
            <a:pPr marR="0" lvl="0" algn="l" defTabSz="228543" rtl="0" eaLnBrk="1" fontAlgn="auto" latinLnBrk="0" hangingPunct="1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nb-NO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R="0" lvl="0" algn="l" defTabSz="228543" rtl="0" eaLnBrk="1" fontAlgn="auto" latinLnBrk="0" hangingPunct="1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nb-NO" sz="1400" b="1" dirty="0">
                <a:solidFill>
                  <a:srgbClr val="335B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ksempler</a:t>
            </a:r>
          </a:p>
          <a:p>
            <a:pPr marL="285750" marR="0" lvl="0" indent="-285750" algn="l" defTabSz="228543" rtl="0" eaLnBrk="1" fontAlgn="auto" latinLnBrk="0" hangingPunct="1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400" dirty="0">
                <a:latin typeface="Calibri" panose="020F0502020204030204" pitchFamily="34" charset="0"/>
                <a:cs typeface="Calibri" panose="020F0502020204030204" pitchFamily="34" charset="0"/>
              </a:rPr>
              <a:t>Energiovervåkning</a:t>
            </a:r>
          </a:p>
          <a:p>
            <a:pPr marL="285750" marR="0" lvl="0" indent="-285750" algn="l" defTabSz="228543" rtl="0" eaLnBrk="1" fontAlgn="auto" latinLnBrk="0" hangingPunct="1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400" dirty="0">
                <a:latin typeface="Calibri" panose="020F0502020204030204" pitchFamily="34" charset="0"/>
                <a:cs typeface="Calibri" panose="020F0502020204030204" pitchFamily="34" charset="0"/>
              </a:rPr>
              <a:t>Bruksmønster på bygg</a:t>
            </a:r>
          </a:p>
          <a:p>
            <a:pPr marL="285750" marR="0" lvl="0" indent="-285750" algn="l" defTabSz="228543" rtl="0" eaLnBrk="1" fontAlgn="auto" latinLnBrk="0" hangingPunct="1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400" dirty="0">
                <a:latin typeface="Calibri" panose="020F0502020204030204" pitchFamily="34" charset="0"/>
                <a:cs typeface="Calibri" panose="020F0502020204030204" pitchFamily="34" charset="0"/>
              </a:rPr>
              <a:t>Inneklima og temperatur</a:t>
            </a:r>
          </a:p>
          <a:p>
            <a:pPr marL="285750" marR="0" lvl="0" indent="-285750" algn="l" defTabSz="228543" rtl="0" eaLnBrk="1" fontAlgn="auto" latinLnBrk="0" hangingPunct="1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400" dirty="0">
                <a:latin typeface="Calibri" panose="020F0502020204030204" pitchFamily="34" charset="0"/>
                <a:cs typeface="Calibri" panose="020F0502020204030204" pitchFamily="34" charset="0"/>
              </a:rPr>
              <a:t>Måling av radon</a:t>
            </a:r>
          </a:p>
          <a:p>
            <a:pPr marL="285750" marR="0" lvl="0" indent="-285750" algn="l" defTabSz="228543" rtl="0" eaLnBrk="1" fontAlgn="auto" latinLnBrk="0" hangingPunct="1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400" dirty="0">
                <a:latin typeface="Calibri" panose="020F0502020204030204" pitchFamily="34" charset="0"/>
                <a:cs typeface="Calibri" panose="020F0502020204030204" pitchFamily="34" charset="0"/>
              </a:rPr>
              <a:t>App for bestilling av møtemat etc.</a:t>
            </a:r>
          </a:p>
          <a:p>
            <a:pPr marR="0" lvl="0" algn="l" defTabSz="228543" rtl="0" eaLnBrk="1" fontAlgn="auto" latinLnBrk="0" hangingPunct="1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nb-NO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extBox 19">
            <a:extLst>
              <a:ext uri="{FF2B5EF4-FFF2-40B4-BE49-F238E27FC236}">
                <a16:creationId xmlns:a16="http://schemas.microsoft.com/office/drawing/2014/main" id="{24666320-25CF-D845-9263-B4DA1B3F79F3}"/>
              </a:ext>
            </a:extLst>
          </p:cNvPr>
          <p:cNvSpPr txBox="1"/>
          <p:nvPr/>
        </p:nvSpPr>
        <p:spPr>
          <a:xfrm>
            <a:off x="948004" y="847289"/>
            <a:ext cx="11148922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indent="0" fontAlgn="auto">
              <a:lnSpc>
                <a:spcPts val="20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b="1" dirty="0">
                <a:solidFill>
                  <a:srgbClr val="335B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. Hvilken erfaring har leverandør med arbeidsplass-konsept (smart </a:t>
            </a:r>
            <a:r>
              <a:rPr lang="nb-NO" b="1" dirty="0" err="1">
                <a:solidFill>
                  <a:srgbClr val="335B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ffice</a:t>
            </a:r>
            <a:r>
              <a:rPr lang="nb-NO" b="1" dirty="0">
                <a:solidFill>
                  <a:srgbClr val="335B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?</a:t>
            </a:r>
          </a:p>
        </p:txBody>
      </p:sp>
      <p:pic>
        <p:nvPicPr>
          <p:cNvPr id="6" name="Plassholder for bilde 22">
            <a:extLst>
              <a:ext uri="{FF2B5EF4-FFF2-40B4-BE49-F238E27FC236}">
                <a16:creationId xmlns:a16="http://schemas.microsoft.com/office/drawing/2014/main" id="{35142F40-DAA6-44D8-8D5E-6A2EAE58994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0193" r="32207"/>
          <a:stretch/>
        </p:blipFill>
        <p:spPr>
          <a:xfrm>
            <a:off x="8797886" y="2026087"/>
            <a:ext cx="3118308" cy="4661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6977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906511798844589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WjiP3fvQ14ypXyB8.v1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Nl2Frp5mTQ9I7wpgOW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Nl2Frp5mTQ9I7wpgOWk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gD_IUtfkGrE_k5WI2Lgg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3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3.jpeg"/></Relationships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3.jpeg"/></Relationships>
</file>

<file path=ppt/theme/theme1.xml><?xml version="1.0" encoding="utf-8"?>
<a:theme xmlns:a="http://schemas.openxmlformats.org/drawingml/2006/main" name="1_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Integral">
  <a:themeElements>
    <a:clrScheme name="Integral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B9F25"/>
      </a:hlink>
      <a:folHlink>
        <a:srgbClr val="B26B02"/>
      </a:folHlink>
    </a:clrScheme>
    <a:fontScheme name="Integral">
      <a:majorFont>
        <a:latin typeface="Tw Cen MT Condensed" panose="020B06060201040202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Integral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atMod val="100000"/>
                <a:lumMod val="100000"/>
              </a:schemeClr>
            </a:gs>
            <a:gs pos="100000">
              <a:schemeClr val="phClr"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tint val="100000"/>
                <a:shade val="85000"/>
                <a:satMod val="100000"/>
                <a:lumMod val="100000"/>
              </a:schemeClr>
            </a:gs>
            <a:gs pos="100000">
              <a:schemeClr val="phClr">
                <a:tint val="90000"/>
                <a:shade val="100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2700" dir="5400000" algn="ctr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25400" dir="5400000" algn="ct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contourW="12700" prstMaterial="flat">
            <a:bevelT w="38100" h="44450" prst="angle"/>
            <a:contourClr>
              <a:schemeClr val="phClr">
                <a:shade val="35000"/>
                <a:satMod val="16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85000"/>
            <a:satMod val="125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95000"/>
                <a:shade val="74000"/>
                <a:satMod val="230000"/>
              </a:schemeClr>
              <a:schemeClr val="phClr">
                <a:tint val="92000"/>
                <a:shade val="69000"/>
                <a:satMod val="250000"/>
              </a:schemeClr>
            </a:duotone>
          </a:blip>
          <a:tile tx="0" ty="0" sx="40000" sy="4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ntegral" id="{3577F8C9-A904-41D8-97D2-FD898F53F20E}" vid="{682D6EBE-8D36-4FF2-9DB3-F3D8D7B6715D}"/>
    </a:ext>
  </a:extLst>
</a:theme>
</file>

<file path=ppt/theme/theme3.xml><?xml version="1.0" encoding="utf-8"?>
<a:theme xmlns:a="http://schemas.openxmlformats.org/drawingml/2006/main" name="3_Integral">
  <a:themeElements>
    <a:clrScheme name="Integral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B9F25"/>
      </a:hlink>
      <a:folHlink>
        <a:srgbClr val="B26B02"/>
      </a:folHlink>
    </a:clrScheme>
    <a:fontScheme name="Integral">
      <a:majorFont>
        <a:latin typeface="Tw Cen MT Condensed" panose="020B06060201040202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Integral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atMod val="100000"/>
                <a:lumMod val="100000"/>
              </a:schemeClr>
            </a:gs>
            <a:gs pos="100000">
              <a:schemeClr val="phClr"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tint val="100000"/>
                <a:shade val="85000"/>
                <a:satMod val="100000"/>
                <a:lumMod val="100000"/>
              </a:schemeClr>
            </a:gs>
            <a:gs pos="100000">
              <a:schemeClr val="phClr">
                <a:tint val="90000"/>
                <a:shade val="100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2700" dir="5400000" algn="ctr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25400" dir="5400000" algn="ct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contourW="12700" prstMaterial="flat">
            <a:bevelT w="38100" h="44450" prst="angle"/>
            <a:contourClr>
              <a:schemeClr val="phClr">
                <a:shade val="35000"/>
                <a:satMod val="16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85000"/>
            <a:satMod val="125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95000"/>
                <a:shade val="74000"/>
                <a:satMod val="230000"/>
              </a:schemeClr>
              <a:schemeClr val="phClr">
                <a:tint val="92000"/>
                <a:shade val="69000"/>
                <a:satMod val="250000"/>
              </a:schemeClr>
            </a:duotone>
          </a:blip>
          <a:tile tx="0" ty="0" sx="40000" sy="4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ntegral" id="{3577F8C9-A904-41D8-97D2-FD898F53F20E}" vid="{682D6EBE-8D36-4FF2-9DB3-F3D8D7B6715D}"/>
    </a:ext>
  </a:extLst>
</a:theme>
</file>

<file path=ppt/theme/theme4.xml><?xml version="1.0" encoding="utf-8"?>
<a:theme xmlns:a="http://schemas.openxmlformats.org/drawingml/2006/main" name="Integral">
  <a:themeElements>
    <a:clrScheme name="Integral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B9F25"/>
      </a:hlink>
      <a:folHlink>
        <a:srgbClr val="B26B02"/>
      </a:folHlink>
    </a:clrScheme>
    <a:fontScheme name="Integral">
      <a:majorFont>
        <a:latin typeface="Tw Cen MT Condensed" panose="020B06060201040202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Integral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atMod val="100000"/>
                <a:lumMod val="100000"/>
              </a:schemeClr>
            </a:gs>
            <a:gs pos="100000">
              <a:schemeClr val="phClr"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tint val="100000"/>
                <a:shade val="85000"/>
                <a:satMod val="100000"/>
                <a:lumMod val="100000"/>
              </a:schemeClr>
            </a:gs>
            <a:gs pos="100000">
              <a:schemeClr val="phClr">
                <a:tint val="90000"/>
                <a:shade val="100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2700" dir="5400000" algn="ctr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25400" dir="5400000" algn="ct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contourW="12700" prstMaterial="flat">
            <a:bevelT w="38100" h="44450" prst="angle"/>
            <a:contourClr>
              <a:schemeClr val="phClr">
                <a:shade val="35000"/>
                <a:satMod val="16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85000"/>
            <a:satMod val="125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95000"/>
                <a:shade val="74000"/>
                <a:satMod val="230000"/>
              </a:schemeClr>
              <a:schemeClr val="phClr">
                <a:tint val="92000"/>
                <a:shade val="69000"/>
                <a:satMod val="250000"/>
              </a:schemeClr>
            </a:duotone>
          </a:blip>
          <a:tile tx="0" ty="0" sx="40000" sy="4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ntegral" id="{3577F8C9-A904-41D8-97D2-FD898F53F20E}" vid="{682D6EBE-8D36-4FF2-9DB3-F3D8D7B6715D}"/>
    </a:ext>
  </a:extLst>
</a:theme>
</file>

<file path=ppt/theme/theme5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745B47085A9A94ABD9526C24C611470" ma:contentTypeVersion="13" ma:contentTypeDescription="Create a new document." ma:contentTypeScope="" ma:versionID="fa22ca32db4ac703e97fe4a36fdecd0e">
  <xsd:schema xmlns:xsd="http://www.w3.org/2001/XMLSchema" xmlns:xs="http://www.w3.org/2001/XMLSchema" xmlns:p="http://schemas.microsoft.com/office/2006/metadata/properties" xmlns:ns2="a4f892ea-b17d-4fd2-994d-f783639b1dae" xmlns:ns3="fda3975e-1001-41c3-b61f-fa68b9bba45d" targetNamespace="http://schemas.microsoft.com/office/2006/metadata/properties" ma:root="true" ma:fieldsID="e9c02d0c388996222e871d2c5edfa641" ns2:_="" ns3:_="">
    <xsd:import namespace="a4f892ea-b17d-4fd2-994d-f783639b1dae"/>
    <xsd:import namespace="fda3975e-1001-41c3-b61f-fa68b9bba45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T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4f892ea-b17d-4fd2-994d-f783639b1da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Tall" ma:index="20" nillable="true" ma:displayName="Tall" ma:format="Dropdown" ma:internalName="Tall" ma:percentage="FALS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a3975e-1001-41c3-b61f-fa68b9bba45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ll xmlns="a4f892ea-b17d-4fd2-994d-f783639b1dae" xsi:nil="true"/>
  </documentManagement>
</p:properties>
</file>

<file path=customXml/itemProps1.xml><?xml version="1.0" encoding="utf-8"?>
<ds:datastoreItem xmlns:ds="http://schemas.openxmlformats.org/officeDocument/2006/customXml" ds:itemID="{91EADBEC-7CAD-4F25-8C5A-A18D309EAE4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359E304-BEF9-4319-B676-C9D76E4560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4f892ea-b17d-4fd2-994d-f783639b1dae"/>
    <ds:schemaRef ds:uri="fda3975e-1001-41c3-b61f-fa68b9bba45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828AEAC-B7DD-4A4F-91F0-78C9DCE17844}">
  <ds:schemaRefs>
    <ds:schemaRef ds:uri="http://schemas.microsoft.com/office/2006/metadata/properties"/>
    <ds:schemaRef ds:uri="http://schemas.microsoft.com/office/infopath/2007/PartnerControls"/>
    <ds:schemaRef ds:uri="a4f892ea-b17d-4fd2-994d-f783639b1da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7</TotalTime>
  <Words>672</Words>
  <Application>Microsoft Office PowerPoint</Application>
  <PresentationFormat>Widescreen</PresentationFormat>
  <Paragraphs>153</Paragraphs>
  <Slides>11</Slides>
  <Notes>2</Notes>
  <HiddenSlides>0</HiddenSlides>
  <MMClips>0</MMClips>
  <ScaleCrop>false</ScaleCrop>
  <HeadingPairs>
    <vt:vector size="8" baseType="variant">
      <vt:variant>
        <vt:lpstr>Brukte skrifter</vt:lpstr>
      </vt:variant>
      <vt:variant>
        <vt:i4>11</vt:i4>
      </vt:variant>
      <vt:variant>
        <vt:lpstr>Tema</vt:lpstr>
      </vt:variant>
      <vt:variant>
        <vt:i4>4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1</vt:i4>
      </vt:variant>
    </vt:vector>
  </HeadingPairs>
  <TitlesOfParts>
    <vt:vector size="27" baseType="lpstr">
      <vt:lpstr>Arial</vt:lpstr>
      <vt:lpstr>Calibri</vt:lpstr>
      <vt:lpstr>Calibri Light</vt:lpstr>
      <vt:lpstr>Lato Light</vt:lpstr>
      <vt:lpstr>Montserrat</vt:lpstr>
      <vt:lpstr>Montserrat Light</vt:lpstr>
      <vt:lpstr>Open Sans</vt:lpstr>
      <vt:lpstr>Roboto</vt:lpstr>
      <vt:lpstr>Tw Cen MT</vt:lpstr>
      <vt:lpstr>Tw Cen MT Condensed</vt:lpstr>
      <vt:lpstr>Wingdings 3</vt:lpstr>
      <vt:lpstr>1_Office-tema</vt:lpstr>
      <vt:lpstr>1_Integral</vt:lpstr>
      <vt:lpstr>3_Integral</vt:lpstr>
      <vt:lpstr>Integral</vt:lpstr>
      <vt:lpstr>think-cell Slide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Gunnar Harris-Christensen</dc:creator>
  <cp:lastModifiedBy>Gunnar Harris-Christensen</cp:lastModifiedBy>
  <cp:revision>3</cp:revision>
  <dcterms:created xsi:type="dcterms:W3CDTF">2021-01-25T12:14:02Z</dcterms:created>
  <dcterms:modified xsi:type="dcterms:W3CDTF">2021-01-26T09:30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745B47085A9A94ABD9526C24C611470</vt:lpwstr>
  </property>
</Properties>
</file>